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8"/>
  </p:notesMasterIdLst>
  <p:handoutMasterIdLst>
    <p:handoutMasterId r:id="rId29"/>
  </p:handoutMasterIdLst>
  <p:sldIdLst>
    <p:sldId id="256" r:id="rId2"/>
    <p:sldId id="303" r:id="rId3"/>
    <p:sldId id="337" r:id="rId4"/>
    <p:sldId id="286" r:id="rId5"/>
    <p:sldId id="298" r:id="rId6"/>
    <p:sldId id="326" r:id="rId7"/>
    <p:sldId id="299" r:id="rId8"/>
    <p:sldId id="330" r:id="rId9"/>
    <p:sldId id="332" r:id="rId10"/>
    <p:sldId id="333" r:id="rId11"/>
    <p:sldId id="334" r:id="rId12"/>
    <p:sldId id="342" r:id="rId13"/>
    <p:sldId id="336" r:id="rId14"/>
    <p:sldId id="338" r:id="rId15"/>
    <p:sldId id="335" r:id="rId16"/>
    <p:sldId id="341" r:id="rId17"/>
    <p:sldId id="339" r:id="rId18"/>
    <p:sldId id="340" r:id="rId19"/>
    <p:sldId id="327" r:id="rId20"/>
    <p:sldId id="331" r:id="rId21"/>
    <p:sldId id="283" r:id="rId22"/>
    <p:sldId id="328" r:id="rId23"/>
    <p:sldId id="287" r:id="rId24"/>
    <p:sldId id="329" r:id="rId25"/>
    <p:sldId id="285" r:id="rId26"/>
    <p:sldId id="284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303"/>
            <p14:sldId id="337"/>
            <p14:sldId id="286"/>
          </p14:sldIdLst>
        </p14:section>
        <p14:section name="Talk 1" id="{A39BAB87-122F-4407-B1D1-4EBF3756855C}">
          <p14:sldIdLst>
            <p14:sldId id="298"/>
            <p14:sldId id="326"/>
          </p14:sldIdLst>
        </p14:section>
        <p14:section name="Talk 2" id="{2167965B-9CDA-481C-93BD-B76642157988}">
          <p14:sldIdLst>
            <p14:sldId id="299"/>
            <p14:sldId id="330"/>
            <p14:sldId id="332"/>
            <p14:sldId id="333"/>
            <p14:sldId id="334"/>
            <p14:sldId id="342"/>
            <p14:sldId id="336"/>
            <p14:sldId id="338"/>
            <p14:sldId id="335"/>
            <p14:sldId id="341"/>
            <p14:sldId id="339"/>
            <p14:sldId id="340"/>
            <p14:sldId id="327"/>
            <p14:sldId id="331"/>
          </p14:sldIdLst>
        </p14:section>
        <p14:section name="Diskussion" id="{96D93A17-E8EF-40A5-A513-9D3407D7C689}">
          <p14:sldIdLst>
            <p14:sldId id="283"/>
            <p14:sldId id="328"/>
          </p14:sldIdLst>
        </p14:section>
        <p14:section name="User Group" id="{7CCB5C54-E3C4-4115-B207-B037FB65D407}">
          <p14:sldIdLst>
            <p14:sldId id="287"/>
            <p14:sldId id="329"/>
            <p14:sldId id="285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3C9D44-F9F4-4ED0-8696-908CE9AFB290}" v="1" dt="2023-05-13T11:30:21.757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90" d="100"/>
          <a:sy n="90" d="100"/>
        </p:scale>
        <p:origin x="1386" y="9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280FCD49-CF1B-46E6-A5B0-F667093A942C}"/>
    <pc:docChg chg="undo redo custSel addSld delSld modSld sldOrd modSection">
      <pc:chgData name="Thomas Stensitzki" userId="75cafe6b-2f2a-469b-85c4-eec3b9c972ba" providerId="ADAL" clId="{280FCD49-CF1B-46E6-A5B0-F667093A942C}" dt="2021-11-04T18:28:53.588" v="3668" actId="729"/>
      <pc:docMkLst>
        <pc:docMk/>
      </pc:docMkLst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353304963" sldId="25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280FCD49-CF1B-46E6-A5B0-F667093A942C}" dt="2021-11-04T09:27:29.860" v="3641" actId="255"/>
        <pc:sldMkLst>
          <pc:docMk/>
          <pc:sldMk cId="3986585176" sldId="25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7:29.860" v="3641" actId="255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80FCD49-CF1B-46E6-A5B0-F667093A942C}" dt="2021-10-30T12:25:31.808" v="77" actId="1038"/>
          <ac:picMkLst>
            <pc:docMk/>
            <pc:sldMk cId="3986585176" sldId="258"/>
            <ac:picMk id="5" creationId="{D7A85379-0537-405A-8F96-DB1B8BC3EE21}"/>
          </ac:picMkLst>
        </pc:picChg>
      </pc:sldChg>
      <pc:sldChg chg="modSp mod ord">
        <pc:chgData name="Thomas Stensitzki" userId="75cafe6b-2f2a-469b-85c4-eec3b9c972ba" providerId="ADAL" clId="{280FCD49-CF1B-46E6-A5B0-F667093A942C}" dt="2021-11-04T09:23:48.661" v="3631"/>
        <pc:sldMkLst>
          <pc:docMk/>
          <pc:sldMk cId="1120448015" sldId="28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9" creationId="{7ACD5D95-6785-48AB-A08F-F511798021FE}"/>
          </ac:spMkLst>
        </pc:spChg>
      </pc:sldChg>
      <pc:sldChg chg="modSp">
        <pc:chgData name="Thomas Stensitzki" userId="75cafe6b-2f2a-469b-85c4-eec3b9c972ba" providerId="ADAL" clId="{280FCD49-CF1B-46E6-A5B0-F667093A942C}" dt="2021-11-04T09:27:44.281" v="3642" actId="255"/>
        <pc:sldMkLst>
          <pc:docMk/>
          <pc:sldMk cId="2726485231" sldId="28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280FCD49-CF1B-46E6-A5B0-F667093A942C}" dt="2021-11-04T09:27:44.281" v="3642" actId="255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4" creationId="{382FC36A-51A0-467C-9CAE-A10F77DA0B33}"/>
          </ac:spMkLst>
        </pc:spChg>
      </pc:sldChg>
      <pc:sldChg chg="addSp modSp mod modAnim modShow">
        <pc:chgData name="Thomas Stensitzki" userId="75cafe6b-2f2a-469b-85c4-eec3b9c972ba" providerId="ADAL" clId="{280FCD49-CF1B-46E6-A5B0-F667093A942C}" dt="2021-11-04T18:28:53.588" v="3668" actId="729"/>
        <pc:sldMkLst>
          <pc:docMk/>
          <pc:sldMk cId="1572723851" sldId="28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280FCD49-CF1B-46E6-A5B0-F667093A942C}" dt="2021-11-04T09:26:13.098" v="3633" actId="108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4" creationId="{11AA0296-D8CB-4E1E-9730-1AA39B9774F4}"/>
          </ac:spMkLst>
        </pc:spChg>
        <pc:picChg chg="mod">
          <ac:chgData name="Thomas Stensitzki" userId="75cafe6b-2f2a-469b-85c4-eec3b9c972ba" providerId="ADAL" clId="{280FCD49-CF1B-46E6-A5B0-F667093A942C}" dt="2021-11-03T10:03:06.034" v="2961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280FCD49-CF1B-46E6-A5B0-F667093A942C}" dt="2021-11-03T10:05:30.575" v="2990" actId="1076"/>
          <ac:picMkLst>
            <pc:docMk/>
            <pc:sldMk cId="1572723851" sldId="285"/>
            <ac:picMk id="7" creationId="{BD272D56-82CF-412B-91DB-C44598568C42}"/>
          </ac:picMkLst>
        </pc:picChg>
        <pc:picChg chg="mod ord">
          <ac:chgData name="Thomas Stensitzki" userId="75cafe6b-2f2a-469b-85c4-eec3b9c972ba" providerId="ADAL" clId="{280FCD49-CF1B-46E6-A5B0-F667093A942C}" dt="2021-11-03T10:03:36.295" v="2968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modSp mod">
        <pc:chgData name="Thomas Stensitzki" userId="75cafe6b-2f2a-469b-85c4-eec3b9c972ba" providerId="ADAL" clId="{280FCD49-CF1B-46E6-A5B0-F667093A942C}" dt="2021-11-04T09:28:36.084" v="3667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280FCD49-CF1B-46E6-A5B0-F667093A942C}" dt="2021-11-04T09:28:36.084" v="3667" actId="20577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4" creationId="{8557E012-3DD2-45DD-AA48-E53C4BF760F4}"/>
          </ac:spMkLst>
        </pc:spChg>
      </pc:sldChg>
      <pc:sldChg chg="modSp">
        <pc:chgData name="Thomas Stensitzki" userId="75cafe6b-2f2a-469b-85c4-eec3b9c972ba" providerId="ADAL" clId="{280FCD49-CF1B-46E6-A5B0-F667093A942C}" dt="2021-11-04T09:23:48.661" v="3631"/>
        <pc:sldMkLst>
          <pc:docMk/>
          <pc:sldMk cId="1800322613" sldId="28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3.823" v="89" actId="47"/>
        <pc:sldMkLst>
          <pc:docMk/>
          <pc:sldMk cId="133653931" sldId="288"/>
        </pc:sldMkLst>
      </pc:sldChg>
      <pc:sldChg chg="modSp mod modAnim">
        <pc:chgData name="Thomas Stensitzki" userId="75cafe6b-2f2a-469b-85c4-eec3b9c972ba" providerId="ADAL" clId="{280FCD49-CF1B-46E6-A5B0-F667093A942C}" dt="2021-11-04T09:23:48.661" v="3631"/>
        <pc:sldMkLst>
          <pc:docMk/>
          <pc:sldMk cId="1729807556" sldId="289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3:12:27.646" v="319" actId="47"/>
        <pc:sldMkLst>
          <pc:docMk/>
          <pc:sldMk cId="1538979864" sldId="290"/>
        </pc:sldMkLst>
      </pc:sldChg>
      <pc:sldChg chg="del">
        <pc:chgData name="Thomas Stensitzki" userId="75cafe6b-2f2a-469b-85c4-eec3b9c972ba" providerId="ADAL" clId="{280FCD49-CF1B-46E6-A5B0-F667093A942C}" dt="2021-10-30T13:12:28.899" v="320" actId="47"/>
        <pc:sldMkLst>
          <pc:docMk/>
          <pc:sldMk cId="625306503" sldId="29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761415241" sldId="292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1527107871" sldId="29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2" creationId="{94FE4617-272C-4ADB-A104-17BEF13DE29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3" creationId="{E6457753-D74F-4F38-BD66-C620F82E540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4" creationId="{1409B823-461F-468C-9F09-4B59251FE12B}"/>
          </ac:spMkLst>
        </pc:spChg>
      </pc:sldChg>
      <pc:sldChg chg="modSp add mod ord modAnim">
        <pc:chgData name="Thomas Stensitzki" userId="75cafe6b-2f2a-469b-85c4-eec3b9c972ba" providerId="ADAL" clId="{280FCD49-CF1B-46E6-A5B0-F667093A942C}" dt="2021-11-04T09:23:48.661" v="3631"/>
        <pc:sldMkLst>
          <pc:docMk/>
          <pc:sldMk cId="1425809021" sldId="29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94450289" sldId="29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758494623" sldId="296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850902925" sldId="29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2" creationId="{C6A24666-6D7D-4B1C-AB14-A23CC749B429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3" creationId="{981A5F64-C9A7-4F55-A257-48A2926813C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4" creationId="{894C2256-D44A-480B-ADAB-24466F744A8A}"/>
          </ac:spMkLst>
        </pc:spChg>
      </pc:sldChg>
      <pc:sldChg chg="addSp delSp modSp add del mod">
        <pc:chgData name="Thomas Stensitzki" userId="75cafe6b-2f2a-469b-85c4-eec3b9c972ba" providerId="ADAL" clId="{280FCD49-CF1B-46E6-A5B0-F667093A942C}" dt="2021-10-30T13:25:43.657" v="542" actId="2696"/>
        <pc:sldMkLst>
          <pc:docMk/>
          <pc:sldMk cId="2898196944" sldId="296"/>
        </pc:sldMkLst>
        <pc:spChg chg="del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2" creationId="{00000000-0000-0000-0000-000000000000}"/>
          </ac:spMkLst>
        </pc:spChg>
        <pc:spChg chg="del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5" creationId="{FE61FAC7-51A3-4DB4-AD97-90C0CAB71621}"/>
          </ac:spMkLst>
        </pc:spChg>
        <pc:spChg chg="add mod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7" creationId="{7B7D2772-603D-40C6-8653-2CB8685B1AB1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864099125" sldId="297"/>
        </pc:sldMkLst>
      </pc:sldChg>
      <pc:sldChg chg="modSp add modAnim">
        <pc:chgData name="Thomas Stensitzki" userId="75cafe6b-2f2a-469b-85c4-eec3b9c972ba" providerId="ADAL" clId="{280FCD49-CF1B-46E6-A5B0-F667093A942C}" dt="2021-11-04T09:23:48.661" v="3631"/>
        <pc:sldMkLst>
          <pc:docMk/>
          <pc:sldMk cId="3408516510" sldId="29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4" creationId="{5967C4F6-5691-4C11-AF28-AC8861B93550}"/>
          </ac:spMkLst>
        </pc:spChg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512821701" sldId="29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384151020" sldId="298"/>
        </pc:sldMkLst>
      </pc:sldChg>
      <pc:sldChg chg="addSp delSp modSp new mod modClrScheme chgLayout">
        <pc:chgData name="Thomas Stensitzki" userId="75cafe6b-2f2a-469b-85c4-eec3b9c972ba" providerId="ADAL" clId="{280FCD49-CF1B-46E6-A5B0-F667093A942C}" dt="2021-11-04T09:23:48.661" v="3631"/>
        <pc:sldMkLst>
          <pc:docMk/>
          <pc:sldMk cId="843565452" sldId="299"/>
        </pc:sldMkLst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2" creationId="{DDA28F3B-914C-43DD-A972-39FAB403C4A8}"/>
          </ac:spMkLst>
        </pc:spChg>
        <pc:spChg chg="del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3" creationId="{BAF21B54-49C9-413E-BA0A-80CC3D421912}"/>
          </ac:spMkLst>
        </pc:spChg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4" creationId="{E24C22B8-9499-4385-B7AE-E95CB2D56DF0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5" creationId="{B0423A8A-0A30-475A-84BE-A609005B8DD4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6" creationId="{E677E7CA-5AAF-4383-8EE5-7F52FA2ECA6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766929687" sldId="29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49685247" sldId="300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4094364641" sldId="300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80016162" sldId="301"/>
        </pc:sldMkLst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2519074119" sldId="301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445697827" sldId="302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187120561" sldId="302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2" creationId="{A8679793-245A-4403-8454-5C9AADA70BC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3" creationId="{A31AD8FB-E4DD-4237-A96E-0E8025217A9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4" creationId="{FE2200BF-7DE5-4264-A08A-BE157D95AEA8}"/>
          </ac:spMkLst>
        </pc:spChg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1360740510" sldId="30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47804453" sldId="303"/>
        </pc:sldMkLst>
      </pc:sldChg>
      <pc:sldChg chg="modSp add del mod">
        <pc:chgData name="Thomas Stensitzki" userId="75cafe6b-2f2a-469b-85c4-eec3b9c972ba" providerId="ADAL" clId="{280FCD49-CF1B-46E6-A5B0-F667093A942C}" dt="2021-11-04T09:23:48.661" v="3631"/>
        <pc:sldMkLst>
          <pc:docMk/>
          <pc:sldMk cId="1803008957" sldId="30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2T12:33:37.726" v="2488" actId="20577"/>
          <ac:spMkLst>
            <pc:docMk/>
            <pc:sldMk cId="1803008957" sldId="304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82075540" sldId="304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994848826" sldId="30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392101237" sldId="306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239972118" sldId="307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357793335" sldId="308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10973575" sldId="30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494226421" sldId="310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26421219" sldId="31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4D7AFE4C-0A8E-423F-85F3-A20F03F02D67}"/>
    <pc:docChg chg="undo custSel modSld">
      <pc:chgData name="Thomas Stensitzki" userId="75cafe6b-2f2a-469b-85c4-eec3b9c972ba" providerId="ADAL" clId="{4D7AFE4C-0A8E-423F-85F3-A20F03F02D67}" dt="2022-05-14T08:12:11.962" v="190" actId="6549"/>
      <pc:docMkLst>
        <pc:docMk/>
      </pc:docMkLst>
      <pc:sldChg chg="modSp mod">
        <pc:chgData name="Thomas Stensitzki" userId="75cafe6b-2f2a-469b-85c4-eec3b9c972ba" providerId="ADAL" clId="{4D7AFE4C-0A8E-423F-85F3-A20F03F02D67}" dt="2022-05-14T08:12:11.962" v="19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4D7AFE4C-0A8E-423F-85F3-A20F03F02D67}" dt="2022-05-11T08:56:02.573" v="1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1T08:56:10.360" v="15" actId="6549"/>
          <ac:spMkLst>
            <pc:docMk/>
            <pc:sldMk cId="353304963" sldId="256"/>
            <ac:spMk id="3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4T08:12:11.962" v="190" actId="6549"/>
          <ac:spMkLst>
            <pc:docMk/>
            <pc:sldMk cId="353304963" sldId="256"/>
            <ac:spMk id="4" creationId="{96C4C99C-DAD8-4CA7-9932-EEBDC4A8C97C}"/>
          </ac:spMkLst>
        </pc:spChg>
      </pc:sldChg>
      <pc:sldChg chg="modSp mod modAnim">
        <pc:chgData name="Thomas Stensitzki" userId="75cafe6b-2f2a-469b-85c4-eec3b9c972ba" providerId="ADAL" clId="{4D7AFE4C-0A8E-423F-85F3-A20F03F02D67}" dt="2022-05-12T06:56:57.841" v="189" actId="1036"/>
        <pc:sldMkLst>
          <pc:docMk/>
          <pc:sldMk cId="2726485231" sldId="284"/>
        </pc:sldMkLst>
        <pc:spChg chg="mod">
          <ac:chgData name="Thomas Stensitzki" userId="75cafe6b-2f2a-469b-85c4-eec3b9c972ba" providerId="ADAL" clId="{4D7AFE4C-0A8E-423F-85F3-A20F03F02D67}" dt="2022-05-12T06:56:49.881" v="171" actId="6549"/>
          <ac:spMkLst>
            <pc:docMk/>
            <pc:sldMk cId="2726485231" sldId="284"/>
            <ac:spMk id="3" creationId="{852D7D7E-BA81-48A9-8091-7743702661A8}"/>
          </ac:spMkLst>
        </pc:spChg>
        <pc:picChg chg="mod">
          <ac:chgData name="Thomas Stensitzki" userId="75cafe6b-2f2a-469b-85c4-eec3b9c972ba" providerId="ADAL" clId="{4D7AFE4C-0A8E-423F-85F3-A20F03F02D67}" dt="2022-05-12T06:56:57.841" v="189" actId="1036"/>
          <ac:picMkLst>
            <pc:docMk/>
            <pc:sldMk cId="2726485231" sldId="284"/>
            <ac:picMk id="12" creationId="{9FAA32B2-BA7D-48E4-9293-9C6D72FBB96F}"/>
          </ac:picMkLst>
        </pc:picChg>
      </pc:sldChg>
      <pc:sldChg chg="modSp mod">
        <pc:chgData name="Thomas Stensitzki" userId="75cafe6b-2f2a-469b-85c4-eec3b9c972ba" providerId="ADAL" clId="{4D7AFE4C-0A8E-423F-85F3-A20F03F02D67}" dt="2022-05-11T09:05:38.520" v="34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4D7AFE4C-0A8E-423F-85F3-A20F03F02D67}" dt="2022-05-11T09:05:38.520" v="34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4D7AFE4C-0A8E-423F-85F3-A20F03F02D67}" dt="2022-05-11T09:04:14.038" v="29" actId="6549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4D7AFE4C-0A8E-423F-85F3-A20F03F02D67}" dt="2022-05-11T09:04:54.348" v="32"/>
        <pc:sldMkLst>
          <pc:docMk/>
          <pc:sldMk cId="512821701" sldId="298"/>
        </pc:sldMkLst>
        <pc:spChg chg="mod">
          <ac:chgData name="Thomas Stensitzki" userId="75cafe6b-2f2a-469b-85c4-eec3b9c972ba" providerId="ADAL" clId="{4D7AFE4C-0A8E-423F-85F3-A20F03F02D67}" dt="2022-05-11T09:04:54.348" v="32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9:04:30.623" v="31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612878314" sldId="299"/>
        </pc:sldMkLst>
        <pc:spChg chg="mod">
          <ac:chgData name="Thomas Stensitzki" userId="75cafe6b-2f2a-469b-85c4-eec3b9c972ba" providerId="ADAL" clId="{4D7AFE4C-0A8E-423F-85F3-A20F03F02D67}" dt="2022-05-11T08:56:20.365" v="18" actId="20577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8:56:25.493" v="21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165395742" sldId="301"/>
        </pc:sldMkLst>
      </pc:sldChg>
      <pc:sldChg chg="addSp delSp modSp mod">
        <pc:chgData name="Thomas Stensitzki" userId="75cafe6b-2f2a-469b-85c4-eec3b9c972ba" providerId="ADAL" clId="{4D7AFE4C-0A8E-423F-85F3-A20F03F02D67}" dt="2022-05-12T06:52:40.873" v="43" actId="1076"/>
        <pc:sldMkLst>
          <pc:docMk/>
          <pc:sldMk cId="925377618" sldId="302"/>
        </pc:sldMkLst>
        <pc:spChg chg="add del">
          <ac:chgData name="Thomas Stensitzki" userId="75cafe6b-2f2a-469b-85c4-eec3b9c972ba" providerId="ADAL" clId="{4D7AFE4C-0A8E-423F-85F3-A20F03F02D67}" dt="2022-05-12T06:51:05.200" v="37" actId="22"/>
          <ac:spMkLst>
            <pc:docMk/>
            <pc:sldMk cId="925377618" sldId="302"/>
            <ac:spMk id="7" creationId="{482BA98F-E1D2-4D8F-8224-9AFCD40D491A}"/>
          </ac:spMkLst>
        </pc:spChg>
        <pc:picChg chg="add mod">
          <ac:chgData name="Thomas Stensitzki" userId="75cafe6b-2f2a-469b-85c4-eec3b9c972ba" providerId="ADAL" clId="{4D7AFE4C-0A8E-423F-85F3-A20F03F02D67}" dt="2022-05-12T06:51:25.122" v="40" actId="1076"/>
          <ac:picMkLst>
            <pc:docMk/>
            <pc:sldMk cId="925377618" sldId="302"/>
            <ac:picMk id="6" creationId="{13F8EC36-A2E5-4D1A-8F05-1D605B3E28E0}"/>
          </ac:picMkLst>
        </pc:picChg>
        <pc:picChg chg="del">
          <ac:chgData name="Thomas Stensitzki" userId="75cafe6b-2f2a-469b-85c4-eec3b9c972ba" providerId="ADAL" clId="{4D7AFE4C-0A8E-423F-85F3-A20F03F02D67}" dt="2022-05-12T06:51:03.095" v="35" actId="478"/>
          <ac:picMkLst>
            <pc:docMk/>
            <pc:sldMk cId="925377618" sldId="302"/>
            <ac:picMk id="10" creationId="{66D29072-5519-4F82-9C82-41D54F54516F}"/>
          </ac:picMkLst>
        </pc:picChg>
        <pc:picChg chg="add mod">
          <ac:chgData name="Thomas Stensitzki" userId="75cafe6b-2f2a-469b-85c4-eec3b9c972ba" providerId="ADAL" clId="{4D7AFE4C-0A8E-423F-85F3-A20F03F02D67}" dt="2022-05-12T06:52:40.873" v="43" actId="1076"/>
          <ac:picMkLst>
            <pc:docMk/>
            <pc:sldMk cId="925377618" sldId="302"/>
            <ac:picMk id="11" creationId="{A421575D-DD5A-49E8-B6D6-A470C2E07F20}"/>
          </ac:picMkLst>
        </pc:picChg>
      </pc:sldChg>
    </pc:docChg>
  </pc:docChgLst>
  <pc:docChgLst>
    <pc:chgData name="Thomas Stensitzki" userId="75cafe6b-2f2a-469b-85c4-eec3b9c972ba" providerId="ADAL" clId="{C148DAB4-983B-433E-B4CE-5BFA2739BE14}"/>
    <pc:docChg chg="undo custSel addSld delSld modSld sldOrd addSection modSection">
      <pc:chgData name="Thomas Stensitzki" userId="75cafe6b-2f2a-469b-85c4-eec3b9c972ba" providerId="ADAL" clId="{C148DAB4-983B-433E-B4CE-5BFA2739BE14}" dt="2022-03-03T20:02:12.574" v="442" actId="20577"/>
      <pc:docMkLst>
        <pc:docMk/>
      </pc:docMkLst>
      <pc:sldChg chg="addSp modSp mod modTransition">
        <pc:chgData name="Thomas Stensitzki" userId="75cafe6b-2f2a-469b-85c4-eec3b9c972ba" providerId="ADAL" clId="{C148DAB4-983B-433E-B4CE-5BFA2739BE14}" dt="2022-03-03T16:54:29.390" v="441" actId="5793"/>
        <pc:sldMkLst>
          <pc:docMk/>
          <pc:sldMk cId="353304963" sldId="256"/>
        </pc:sldMkLst>
        <pc:spChg chg="mod">
          <ac:chgData name="Thomas Stensitzki" userId="75cafe6b-2f2a-469b-85c4-eec3b9c972ba" providerId="ADAL" clId="{C148DAB4-983B-433E-B4CE-5BFA2739BE14}" dt="2022-03-02T17:33:18.929" v="330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C148DAB4-983B-433E-B4CE-5BFA2739BE14}" dt="2022-03-03T16:45:12.531" v="397" actId="6549"/>
          <ac:spMkLst>
            <pc:docMk/>
            <pc:sldMk cId="353304963" sldId="25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C148DAB4-983B-433E-B4CE-5BFA2739BE14}" dt="2022-03-03T16:54:29.390" v="441" actId="5793"/>
          <ac:spMkLst>
            <pc:docMk/>
            <pc:sldMk cId="353304963" sldId="256"/>
            <ac:spMk id="4" creationId="{96C4C99C-DAD8-4CA7-9932-EEBDC4A8C97C}"/>
          </ac:spMkLst>
        </pc:spChg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120448015" sldId="283"/>
        </pc:sldMkLst>
      </pc:sldChg>
      <pc:sldChg chg="addSp modSp mod modTransition modAnim">
        <pc:chgData name="Thomas Stensitzki" userId="75cafe6b-2f2a-469b-85c4-eec3b9c972ba" providerId="ADAL" clId="{C148DAB4-983B-433E-B4CE-5BFA2739BE14}" dt="2022-03-03T20:02:12.574" v="442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C148DAB4-983B-433E-B4CE-5BFA2739BE14}" dt="2022-03-03T20:02:12.574" v="442" actId="20577"/>
          <ac:spMkLst>
            <pc:docMk/>
            <pc:sldMk cId="2726485231" sldId="284"/>
            <ac:spMk id="3" creationId="{852D7D7E-BA81-48A9-8091-7743702661A8}"/>
          </ac:spMkLst>
        </pc:spChg>
        <pc:spChg chg="add mod">
          <ac:chgData name="Thomas Stensitzki" userId="75cafe6b-2f2a-469b-85c4-eec3b9c972ba" providerId="ADAL" clId="{C148DAB4-983B-433E-B4CE-5BFA2739BE14}" dt="2022-03-02T17:16:00.961" v="169" actId="1076"/>
          <ac:spMkLst>
            <pc:docMk/>
            <pc:sldMk cId="2726485231" sldId="284"/>
            <ac:spMk id="5" creationId="{BFEE3B27-B07E-47D0-99D7-9C8BAD060EC2}"/>
          </ac:spMkLst>
        </pc:spChg>
        <pc:picChg chg="mod">
          <ac:chgData name="Thomas Stensitzki" userId="75cafe6b-2f2a-469b-85c4-eec3b9c972ba" providerId="ADAL" clId="{C148DAB4-983B-433E-B4CE-5BFA2739BE14}" dt="2022-03-02T17:10:57.237" v="33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delSp modSp add del mod ord modTransition delAnim modAnim">
        <pc:chgData name="Thomas Stensitzki" userId="75cafe6b-2f2a-469b-85c4-eec3b9c972ba" providerId="ADAL" clId="{C148DAB4-983B-433E-B4CE-5BFA2739BE14}" dt="2022-03-03T14:47:46.911" v="395"/>
        <pc:sldMkLst>
          <pc:docMk/>
          <pc:sldMk cId="1572723851" sldId="285"/>
        </pc:sldMkLst>
        <pc:spChg chg="mod">
          <ac:chgData name="Thomas Stensitzki" userId="75cafe6b-2f2a-469b-85c4-eec3b9c972ba" providerId="ADAL" clId="{C148DAB4-983B-433E-B4CE-5BFA2739BE14}" dt="2022-03-02T17:32:45.520" v="313" actId="20577"/>
          <ac:spMkLst>
            <pc:docMk/>
            <pc:sldMk cId="1572723851" sldId="285"/>
            <ac:spMk id="3" creationId="{76EC1D6E-0321-4DAA-889D-F932DA5F2EF8}"/>
          </ac:spMkLst>
        </pc:spChg>
        <pc:picChg chg="del">
          <ac:chgData name="Thomas Stensitzki" userId="75cafe6b-2f2a-469b-85c4-eec3b9c972ba" providerId="ADAL" clId="{C148DAB4-983B-433E-B4CE-5BFA2739BE14}" dt="2022-03-02T17:36:28.881" v="338" actId="478"/>
          <ac:picMkLst>
            <pc:docMk/>
            <pc:sldMk cId="1572723851" sldId="285"/>
            <ac:picMk id="7" creationId="{BD272D56-82CF-412B-91DB-C44598568C42}"/>
          </ac:picMkLst>
        </pc:picChg>
        <pc:picChg chg="add mod">
          <ac:chgData name="Thomas Stensitzki" userId="75cafe6b-2f2a-469b-85c4-eec3b9c972ba" providerId="ADAL" clId="{C148DAB4-983B-433E-B4CE-5BFA2739BE14}" dt="2022-03-02T17:38:00.672" v="345" actId="1440"/>
          <ac:picMkLst>
            <pc:docMk/>
            <pc:sldMk cId="1572723851" sldId="285"/>
            <ac:picMk id="9" creationId="{E28B5C00-703A-466F-BCBE-63798F01D3DB}"/>
          </ac:picMkLst>
        </pc:picChg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848503523" sldId="286"/>
        </pc:sldMkLst>
        <pc:spChg chg="mod">
          <ac:chgData name="Thomas Stensitzki" userId="75cafe6b-2f2a-469b-85c4-eec3b9c972ba" providerId="ADAL" clId="{C148DAB4-983B-433E-B4CE-5BFA2739BE14}" dt="2022-03-02T17:06:52.068" v="17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C148DAB4-983B-433E-B4CE-5BFA2739BE14}" dt="2022-03-02T17:21:40.080" v="233" actId="6549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C148DAB4-983B-433E-B4CE-5BFA2739BE14}" dt="2022-03-02T17:08:18.362" v="24" actId="1076"/>
          <ac:spMkLst>
            <pc:docMk/>
            <pc:sldMk cId="848503523" sldId="286"/>
            <ac:spMk id="5" creationId="{3060FA8B-3FE8-41AF-887D-70CB325A73FF}"/>
          </ac:spMkLst>
        </pc:spChg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800322613" sldId="287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729807556" sldId="289"/>
        </pc:sldMkLst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1527107871" sldId="294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425809021" sldId="295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850902925" sldId="296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408516510" sldId="297"/>
        </pc:sldMkLst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512821701" sldId="298"/>
        </pc:sldMkLst>
        <pc:spChg chg="mod">
          <ac:chgData name="Thomas Stensitzki" userId="75cafe6b-2f2a-469b-85c4-eec3b9c972ba" providerId="ADAL" clId="{C148DAB4-983B-433E-B4CE-5BFA2739BE14}" dt="2022-03-02T17:20:40.735" v="219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0:51.249" v="220"/>
          <ac:spMkLst>
            <pc:docMk/>
            <pc:sldMk cId="512821701" sldId="298"/>
            <ac:spMk id="9" creationId="{7ACD5D95-6785-48AB-A08F-F511798021FE}"/>
          </ac:spMkLst>
        </pc:spChg>
      </pc:sldChg>
      <pc:sldChg chg="modSp add mod or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612878314" sldId="299"/>
        </pc:sldMkLst>
        <pc:spChg chg="mod">
          <ac:chgData name="Thomas Stensitzki" userId="75cafe6b-2f2a-469b-85c4-eec3b9c972ba" providerId="ADAL" clId="{C148DAB4-983B-433E-B4CE-5BFA2739BE14}" dt="2022-03-02T17:21:17.475" v="229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1:26.634" v="230"/>
          <ac:spMkLst>
            <pc:docMk/>
            <pc:sldMk cId="612878314" sldId="299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843565452" sldId="299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07.537" v="333" actId="700"/>
        <pc:sldMkLst>
          <pc:docMk/>
          <pc:sldMk cId="254634099" sldId="300"/>
        </pc:sldMkLst>
        <pc:spChg chg="del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2" creationId="{3B786890-18F8-422A-8364-6D6361753E0B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3" creationId="{32BB029C-B1FB-4591-86C5-CB330D5062E5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4" creationId="{99459D8E-621D-4E69-A5F7-E8A26855007B}"/>
          </ac:spMkLst>
        </pc:spChg>
        <pc:spChg chg="add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5" creationId="{D7A2D598-B3FE-4D80-9241-7F9C19D61446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4094364641" sldId="300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12.442" v="335" actId="700"/>
        <pc:sldMkLst>
          <pc:docMk/>
          <pc:sldMk cId="165395742" sldId="301"/>
        </pc:sldMkLst>
        <pc:spChg chg="del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2" creationId="{1765B5F4-F891-4694-AA6C-72068F7670B3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3" creationId="{4F090531-14BE-439B-AC12-05C89D134A4B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4" creationId="{2FFC5113-E510-42C2-9193-B5FD2CB81E87}"/>
          </ac:spMkLst>
        </pc:spChg>
        <pc:spChg chg="add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5" creationId="{EF33DA07-BDE5-4D8B-B332-D6D77536E093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519074119" sldId="301"/>
        </pc:sldMkLst>
      </pc:sldChg>
      <pc:sldChg chg="addSp delSp modSp new mod modTransition">
        <pc:chgData name="Thomas Stensitzki" userId="75cafe6b-2f2a-469b-85c4-eec3b9c972ba" providerId="ADAL" clId="{C148DAB4-983B-433E-B4CE-5BFA2739BE14}" dt="2022-03-03T14:47:35.269" v="393"/>
        <pc:sldMkLst>
          <pc:docMk/>
          <pc:sldMk cId="925377618" sldId="302"/>
        </pc:sldMkLst>
        <pc:spChg chg="mod">
          <ac:chgData name="Thomas Stensitzki" userId="75cafe6b-2f2a-469b-85c4-eec3b9c972ba" providerId="ADAL" clId="{C148DAB4-983B-433E-B4CE-5BFA2739BE14}" dt="2022-03-03T14:43:33.995" v="381" actId="20577"/>
          <ac:spMkLst>
            <pc:docMk/>
            <pc:sldMk cId="925377618" sldId="302"/>
            <ac:spMk id="2" creationId="{ECC9ACB5-71F5-45C5-A2B9-2358FC4A8083}"/>
          </ac:spMkLst>
        </pc:spChg>
        <pc:spChg chg="del mod">
          <ac:chgData name="Thomas Stensitzki" userId="75cafe6b-2f2a-469b-85c4-eec3b9c972ba" providerId="ADAL" clId="{C148DAB4-983B-433E-B4CE-5BFA2739BE14}" dt="2022-03-03T14:44:41.083" v="383" actId="478"/>
          <ac:spMkLst>
            <pc:docMk/>
            <pc:sldMk cId="925377618" sldId="302"/>
            <ac:spMk id="3" creationId="{38DDA5AA-72AD-494B-ADE7-86C9DC458D15}"/>
          </ac:spMkLst>
        </pc:spChg>
        <pc:spChg chg="add del mod">
          <ac:chgData name="Thomas Stensitzki" userId="75cafe6b-2f2a-469b-85c4-eec3b9c972ba" providerId="ADAL" clId="{C148DAB4-983B-433E-B4CE-5BFA2739BE14}" dt="2022-03-03T14:44:45.676" v="384" actId="478"/>
          <ac:spMkLst>
            <pc:docMk/>
            <pc:sldMk cId="925377618" sldId="302"/>
            <ac:spMk id="6" creationId="{CE9C9224-67FD-4E7A-A003-3330FD843F31}"/>
          </ac:spMkLst>
        </pc:spChg>
        <pc:spChg chg="add mod">
          <ac:chgData name="Thomas Stensitzki" userId="75cafe6b-2f2a-469b-85c4-eec3b9c972ba" providerId="ADAL" clId="{C148DAB4-983B-433E-B4CE-5BFA2739BE14}" dt="2022-03-03T14:45:01.157" v="388" actId="207"/>
          <ac:spMkLst>
            <pc:docMk/>
            <pc:sldMk cId="925377618" sldId="302"/>
            <ac:spMk id="8" creationId="{6206FB5A-FE64-4B48-8433-41EE967AF978}"/>
          </ac:spMkLst>
        </pc:spChg>
        <pc:picChg chg="add mod">
          <ac:chgData name="Thomas Stensitzki" userId="75cafe6b-2f2a-469b-85c4-eec3b9c972ba" providerId="ADAL" clId="{C148DAB4-983B-433E-B4CE-5BFA2739BE14}" dt="2022-03-03T14:46:13.552" v="392" actId="1440"/>
          <ac:picMkLst>
            <pc:docMk/>
            <pc:sldMk cId="925377618" sldId="302"/>
            <ac:picMk id="10" creationId="{66D29072-5519-4F82-9C82-41D54F54516F}"/>
          </ac:picMkLst>
        </pc:pic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2187120561" sldId="302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360740510" sldId="303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1803008957" sldId="304"/>
        </pc:sldMkLst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  <pc:docChgLst>
    <pc:chgData name="Thomas Stensitzki" userId="75cafe6b-2f2a-469b-85c4-eec3b9c972ba" providerId="ADAL" clId="{596291A8-D1C0-462B-80C1-A1EE897DC644}"/>
    <pc:docChg chg="undo custSel addSld delSld modSld modSection">
      <pc:chgData name="Thomas Stensitzki" userId="75cafe6b-2f2a-469b-85c4-eec3b9c972ba" providerId="ADAL" clId="{596291A8-D1C0-462B-80C1-A1EE897DC644}" dt="2023-02-18T17:02:56.606" v="554" actId="1440"/>
      <pc:docMkLst>
        <pc:docMk/>
      </pc:docMkLst>
      <pc:sldChg chg="addSp delSp modSp mod setBg">
        <pc:chgData name="Thomas Stensitzki" userId="75cafe6b-2f2a-469b-85c4-eec3b9c972ba" providerId="ADAL" clId="{596291A8-D1C0-462B-80C1-A1EE897DC644}" dt="2023-02-18T17:02:32.744" v="552" actId="26606"/>
        <pc:sldMkLst>
          <pc:docMk/>
          <pc:sldMk cId="353304963" sldId="256"/>
        </pc:sldMkLst>
        <pc:spChg chg="mod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3" creationId="{00000000-0000-0000-0000-000000000000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9" creationId="{0E30439A-8A5B-46EC-8283-9B6B031D40D0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1" creationId="{5CEAD642-85CF-4750-8432-7C80C901F001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3" creationId="{FA33EEAE-15D5-4119-8C1E-89D943F911EF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5" creationId="{730D8B3B-9B80-4025-B934-26DC7D7CD231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7" creationId="{B5A1B09C-1565-46F8-B70F-621C5EB48A09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19" creationId="{8C516CC8-80AC-446C-A56E-9F54B7210402}"/>
          </ac:spMkLst>
        </pc:spChg>
        <pc:spChg chg="add del">
          <ac:chgData name="Thomas Stensitzki" userId="75cafe6b-2f2a-469b-85c4-eec3b9c972ba" providerId="ADAL" clId="{596291A8-D1C0-462B-80C1-A1EE897DC644}" dt="2023-02-18T17:02:32.744" v="552" actId="26606"/>
          <ac:spMkLst>
            <pc:docMk/>
            <pc:sldMk cId="353304963" sldId="256"/>
            <ac:spMk id="21" creationId="{53947E58-F088-49F1-A3D1-DEA690192E84}"/>
          </ac:spMkLst>
        </pc:spChg>
      </pc:sldChg>
      <pc:sldChg chg="modSp">
        <pc:chgData name="Thomas Stensitzki" userId="75cafe6b-2f2a-469b-85c4-eec3b9c972ba" providerId="ADAL" clId="{596291A8-D1C0-462B-80C1-A1EE897DC644}" dt="2023-02-18T16:52:48.007" v="19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596291A8-D1C0-462B-80C1-A1EE897DC644}" dt="2023-02-18T16:52:48.007" v="19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addSp delSp modSp mod">
        <pc:chgData name="Thomas Stensitzki" userId="75cafe6b-2f2a-469b-85c4-eec3b9c972ba" providerId="ADAL" clId="{596291A8-D1C0-462B-80C1-A1EE897DC644}" dt="2023-02-18T17:02:01.777" v="547" actId="14100"/>
        <pc:sldMkLst>
          <pc:docMk/>
          <pc:sldMk cId="848503523" sldId="286"/>
        </pc:sldMkLst>
        <pc:spChg chg="add del mod">
          <ac:chgData name="Thomas Stensitzki" userId="75cafe6b-2f2a-469b-85c4-eec3b9c972ba" providerId="ADAL" clId="{596291A8-D1C0-462B-80C1-A1EE897DC644}" dt="2023-02-18T17:01:20.255" v="543" actId="26606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596291A8-D1C0-462B-80C1-A1EE897DC644}" dt="2023-02-18T17:02:01.777" v="547" actId="14100"/>
          <ac:spMkLst>
            <pc:docMk/>
            <pc:sldMk cId="848503523" sldId="286"/>
            <ac:spMk id="5" creationId="{3060FA8B-3FE8-41AF-887D-70CB325A73FF}"/>
          </ac:spMkLst>
        </pc:spChg>
        <pc:grpChg chg="mod">
          <ac:chgData name="Thomas Stensitzki" userId="75cafe6b-2f2a-469b-85c4-eec3b9c972ba" providerId="ADAL" clId="{596291A8-D1C0-462B-80C1-A1EE897DC644}" dt="2023-02-18T17:02:01.777" v="547" actId="14100"/>
          <ac:grpSpMkLst>
            <pc:docMk/>
            <pc:sldMk cId="848503523" sldId="286"/>
            <ac:grpSpMk id="6" creationId="{D887B6D5-E084-4C12-9799-A7C0F958FEEC}"/>
          </ac:grpSpMkLst>
        </pc:grpChg>
        <pc:graphicFrameChg chg="add del">
          <ac:chgData name="Thomas Stensitzki" userId="75cafe6b-2f2a-469b-85c4-eec3b9c972ba" providerId="ADAL" clId="{596291A8-D1C0-462B-80C1-A1EE897DC644}" dt="2023-02-18T17:01:18.319" v="540" actId="26606"/>
          <ac:graphicFrameMkLst>
            <pc:docMk/>
            <pc:sldMk cId="848503523" sldId="286"/>
            <ac:graphicFrameMk id="10" creationId="{37955FD3-7166-6CA2-F998-B8AFDE190A99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7:01:20.241" v="542" actId="26606"/>
          <ac:graphicFrameMkLst>
            <pc:docMk/>
            <pc:sldMk cId="848503523" sldId="286"/>
            <ac:graphicFrameMk id="12" creationId="{8468A702-09C4-1F21-7D70-DFF2EB9E1214}"/>
          </ac:graphicFrameMkLst>
        </pc:graphicFrameChg>
        <pc:graphicFrameChg chg="add mod">
          <ac:chgData name="Thomas Stensitzki" userId="75cafe6b-2f2a-469b-85c4-eec3b9c972ba" providerId="ADAL" clId="{596291A8-D1C0-462B-80C1-A1EE897DC644}" dt="2023-02-18T17:01:40.711" v="545" actId="14100"/>
          <ac:graphicFrameMkLst>
            <pc:docMk/>
            <pc:sldMk cId="848503523" sldId="286"/>
            <ac:graphicFrameMk id="14" creationId="{F71BA354-3E66-B623-2586-C7986D89ABCF}"/>
          </ac:graphicFrameMkLst>
        </pc:graphicFrameChg>
      </pc:sldChg>
      <pc:sldChg chg="modSp mod">
        <pc:chgData name="Thomas Stensitzki" userId="75cafe6b-2f2a-469b-85c4-eec3b9c972ba" providerId="ADAL" clId="{596291A8-D1C0-462B-80C1-A1EE897DC644}" dt="2023-02-18T16:47:40.852" v="54" actId="20577"/>
        <pc:sldMkLst>
          <pc:docMk/>
          <pc:sldMk cId="512821701" sldId="298"/>
        </pc:sldMkLst>
        <pc:spChg chg="mod">
          <ac:chgData name="Thomas Stensitzki" userId="75cafe6b-2f2a-469b-85c4-eec3b9c972ba" providerId="ADAL" clId="{596291A8-D1C0-462B-80C1-A1EE897DC644}" dt="2023-02-18T16:47:34.426" v="39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596291A8-D1C0-462B-80C1-A1EE897DC644}" dt="2023-02-18T16:47:40.852" v="54" actId="20577"/>
          <ac:spMkLst>
            <pc:docMk/>
            <pc:sldMk cId="512821701" sldId="298"/>
            <ac:spMk id="9" creationId="{7ACD5D95-6785-48AB-A08F-F511798021FE}"/>
          </ac:spMkLst>
        </pc:spChg>
      </pc:sldChg>
      <pc:sldChg chg="addSp delSp modSp mod setBg">
        <pc:chgData name="Thomas Stensitzki" userId="75cafe6b-2f2a-469b-85c4-eec3b9c972ba" providerId="ADAL" clId="{596291A8-D1C0-462B-80C1-A1EE897DC644}" dt="2023-02-18T17:01:09.979" v="538" actId="26606"/>
        <pc:sldMkLst>
          <pc:docMk/>
          <pc:sldMk cId="612878314" sldId="299"/>
        </pc:sldMkLst>
        <pc:spChg chg="mod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9" creationId="{7ACD5D95-6785-48AB-A08F-F511798021FE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14" creationId="{8C790BE2-4E4F-4AAF-81A2-4A6F4885EBE6}"/>
          </ac:spMkLst>
        </pc:spChg>
        <pc:spChg chg="add del">
          <ac:chgData name="Thomas Stensitzki" userId="75cafe6b-2f2a-469b-85c4-eec3b9c972ba" providerId="ADAL" clId="{596291A8-D1C0-462B-80C1-A1EE897DC644}" dt="2023-02-18T17:00:34.842" v="526" actId="26606"/>
          <ac:spMkLst>
            <pc:docMk/>
            <pc:sldMk cId="612878314" sldId="299"/>
            <ac:spMk id="16" creationId="{A3363022-C969-41E9-8EB2-E4C94908C1FA}"/>
          </ac:spMkLst>
        </pc:spChg>
        <pc:spChg chg="add del">
          <ac:chgData name="Thomas Stensitzki" userId="75cafe6b-2f2a-469b-85c4-eec3b9c972ba" providerId="ADAL" clId="{596291A8-D1C0-462B-80C1-A1EE897DC644}" dt="2023-02-18T17:00:34.842" v="526" actId="26606"/>
          <ac:spMkLst>
            <pc:docMk/>
            <pc:sldMk cId="612878314" sldId="299"/>
            <ac:spMk id="18" creationId="{8D1AD6B3-BE88-4CEB-BA17-790657CC4729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22" creationId="{C4C9F2B0-1044-46EB-8AEB-C3BFFDE6C2CC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24" creationId="{0C395952-4E26-45A2-8756-2ADFD6E53C6E}"/>
          </ac:spMkLst>
        </pc:spChg>
        <pc:spChg chg="add del">
          <ac:chgData name="Thomas Stensitzki" userId="75cafe6b-2f2a-469b-85c4-eec3b9c972ba" providerId="ADAL" clId="{596291A8-D1C0-462B-80C1-A1EE897DC644}" dt="2023-02-18T17:00:36.893" v="528" actId="26606"/>
          <ac:spMkLst>
            <pc:docMk/>
            <pc:sldMk cId="612878314" sldId="299"/>
            <ac:spMk id="25" creationId="{A3363022-C969-41E9-8EB2-E4C94908C1FA}"/>
          </ac:spMkLst>
        </pc:spChg>
        <pc:spChg chg="add del">
          <ac:chgData name="Thomas Stensitzki" userId="75cafe6b-2f2a-469b-85c4-eec3b9c972ba" providerId="ADAL" clId="{596291A8-D1C0-462B-80C1-A1EE897DC644}" dt="2023-02-18T17:00:36.893" v="528" actId="26606"/>
          <ac:spMkLst>
            <pc:docMk/>
            <pc:sldMk cId="612878314" sldId="299"/>
            <ac:spMk id="26" creationId="{8D1AD6B3-BE88-4CEB-BA17-790657CC4729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33" creationId="{D28B54C3-B57B-472A-B96E-1FCB67093DC2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34" creationId="{7DB3C429-F8DA-49B9-AF84-21996FCF78B5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35" creationId="{E12088DD-B1AD-40E0-8B86-1D87A2CCD9BE}"/>
          </ac:spMkLst>
        </pc:spChg>
        <pc:spChg chg="add del">
          <ac:chgData name="Thomas Stensitzki" userId="75cafe6b-2f2a-469b-85c4-eec3b9c972ba" providerId="ADAL" clId="{596291A8-D1C0-462B-80C1-A1EE897DC644}" dt="2023-02-18T17:00:38.707" v="530" actId="26606"/>
          <ac:spMkLst>
            <pc:docMk/>
            <pc:sldMk cId="612878314" sldId="299"/>
            <ac:spMk id="36" creationId="{4734BADF-9461-4621-B112-2D7BABEA7DD0}"/>
          </ac:spMkLst>
        </pc:spChg>
        <pc:spChg chg="add del">
          <ac:chgData name="Thomas Stensitzki" userId="75cafe6b-2f2a-469b-85c4-eec3b9c972ba" providerId="ADAL" clId="{596291A8-D1C0-462B-80C1-A1EE897DC644}" dt="2023-02-18T17:00:41.196" v="532" actId="26606"/>
          <ac:spMkLst>
            <pc:docMk/>
            <pc:sldMk cId="612878314" sldId="299"/>
            <ac:spMk id="60" creationId="{0786EB66-C867-4091-BE41-0977C3162303}"/>
          </ac:spMkLst>
        </pc:spChg>
        <pc:spChg chg="add del">
          <ac:chgData name="Thomas Stensitzki" userId="75cafe6b-2f2a-469b-85c4-eec3b9c972ba" providerId="ADAL" clId="{596291A8-D1C0-462B-80C1-A1EE897DC644}" dt="2023-02-18T17:00:41.196" v="532" actId="26606"/>
          <ac:spMkLst>
            <pc:docMk/>
            <pc:sldMk cId="612878314" sldId="299"/>
            <ac:spMk id="61" creationId="{49AC298A-B9B9-4BAB-BCF5-45A44E5BA7DC}"/>
          </ac:spMkLst>
        </pc:spChg>
        <pc:spChg chg="add del">
          <ac:chgData name="Thomas Stensitzki" userId="75cafe6b-2f2a-469b-85c4-eec3b9c972ba" providerId="ADAL" clId="{596291A8-D1C0-462B-80C1-A1EE897DC644}" dt="2023-02-18T17:00:41.196" v="532" actId="26606"/>
          <ac:spMkLst>
            <pc:docMk/>
            <pc:sldMk cId="612878314" sldId="299"/>
            <ac:spMk id="62" creationId="{81BF8F48-5FE7-4A46-8BEB-AF2AE44CD2E8}"/>
          </ac:spMkLst>
        </pc:spChg>
        <pc:spChg chg="add del">
          <ac:chgData name="Thomas Stensitzki" userId="75cafe6b-2f2a-469b-85c4-eec3b9c972ba" providerId="ADAL" clId="{596291A8-D1C0-462B-80C1-A1EE897DC644}" dt="2023-02-18T17:00:42.663" v="534" actId="26606"/>
          <ac:spMkLst>
            <pc:docMk/>
            <pc:sldMk cId="612878314" sldId="299"/>
            <ac:spMk id="74" creationId="{4A70F4F6-8761-4016-931A-4535464E4C26}"/>
          </ac:spMkLst>
        </pc:spChg>
        <pc:spChg chg="add del">
          <ac:chgData name="Thomas Stensitzki" userId="75cafe6b-2f2a-469b-85c4-eec3b9c972ba" providerId="ADAL" clId="{596291A8-D1C0-462B-80C1-A1EE897DC644}" dt="2023-02-18T17:00:42.663" v="534" actId="26606"/>
          <ac:spMkLst>
            <pc:docMk/>
            <pc:sldMk cId="612878314" sldId="299"/>
            <ac:spMk id="75" creationId="{A5271697-90F1-4A23-8EF2-0179F2EAFACB}"/>
          </ac:spMkLst>
        </pc:spChg>
        <pc:spChg chg="add del">
          <ac:chgData name="Thomas Stensitzki" userId="75cafe6b-2f2a-469b-85c4-eec3b9c972ba" providerId="ADAL" clId="{596291A8-D1C0-462B-80C1-A1EE897DC644}" dt="2023-02-18T17:00:42.663" v="534" actId="26606"/>
          <ac:spMkLst>
            <pc:docMk/>
            <pc:sldMk cId="612878314" sldId="299"/>
            <ac:spMk id="96" creationId="{D9F5512A-48E1-4C07-B75E-3CCC517B6804}"/>
          </ac:spMkLst>
        </pc:spChg>
        <pc:spChg chg="add del">
          <ac:chgData name="Thomas Stensitzki" userId="75cafe6b-2f2a-469b-85c4-eec3b9c972ba" providerId="ADAL" clId="{596291A8-D1C0-462B-80C1-A1EE897DC644}" dt="2023-02-18T17:00:58.651" v="536" actId="26606"/>
          <ac:spMkLst>
            <pc:docMk/>
            <pc:sldMk cId="612878314" sldId="299"/>
            <ac:spMk id="98" creationId="{EFA9B6C6-A247-48A8-9A1C-1E36FA9456B5}"/>
          </ac:spMkLst>
        </pc:spChg>
        <pc:spChg chg="add del">
          <ac:chgData name="Thomas Stensitzki" userId="75cafe6b-2f2a-469b-85c4-eec3b9c972ba" providerId="ADAL" clId="{596291A8-D1C0-462B-80C1-A1EE897DC644}" dt="2023-02-18T17:00:58.651" v="536" actId="26606"/>
          <ac:spMkLst>
            <pc:docMk/>
            <pc:sldMk cId="612878314" sldId="299"/>
            <ac:spMk id="99" creationId="{C5CB530E-515E-412C-9DF1-5F8FFBD6F383}"/>
          </ac:spMkLst>
        </pc:spChg>
        <pc:spChg chg="add del">
          <ac:chgData name="Thomas Stensitzki" userId="75cafe6b-2f2a-469b-85c4-eec3b9c972ba" providerId="ADAL" clId="{596291A8-D1C0-462B-80C1-A1EE897DC644}" dt="2023-02-18T17:00:58.651" v="536" actId="26606"/>
          <ac:spMkLst>
            <pc:docMk/>
            <pc:sldMk cId="612878314" sldId="299"/>
            <ac:spMk id="100" creationId="{712D4376-A578-4FF1-94FC-245E7A6A489F}"/>
          </ac:spMkLst>
        </pc:spChg>
        <pc:spChg chg="add del">
          <ac:chgData name="Thomas Stensitzki" userId="75cafe6b-2f2a-469b-85c4-eec3b9c972ba" providerId="ADAL" clId="{596291A8-D1C0-462B-80C1-A1EE897DC644}" dt="2023-02-18T17:00:58.651" v="536" actId="26606"/>
          <ac:spMkLst>
            <pc:docMk/>
            <pc:sldMk cId="612878314" sldId="299"/>
            <ac:spMk id="101" creationId="{AEA7509D-F04F-40CB-A0B3-EEF16499CC9F}"/>
          </ac:spMkLst>
        </pc:spChg>
        <pc:spChg chg="add del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104" creationId="{5A292AEA-2528-46C0-B426-95822B6141FB}"/>
          </ac:spMkLst>
        </pc:spChg>
        <pc:spChg chg="add del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105" creationId="{D8B7B198-E4DF-43CD-AD8C-199884323745}"/>
          </ac:spMkLst>
        </pc:spChg>
        <pc:spChg chg="add del">
          <ac:chgData name="Thomas Stensitzki" userId="75cafe6b-2f2a-469b-85c4-eec3b9c972ba" providerId="ADAL" clId="{596291A8-D1C0-462B-80C1-A1EE897DC644}" dt="2023-02-18T17:01:09.979" v="538" actId="26606"/>
          <ac:spMkLst>
            <pc:docMk/>
            <pc:sldMk cId="612878314" sldId="299"/>
            <ac:spMk id="106" creationId="{2BE67753-EA0E-4819-8D22-0B6600CF7231}"/>
          </ac:spMkLst>
        </pc:spChg>
        <pc:grpChg chg="add del">
          <ac:chgData name="Thomas Stensitzki" userId="75cafe6b-2f2a-469b-85c4-eec3b9c972ba" providerId="ADAL" clId="{596291A8-D1C0-462B-80C1-A1EE897DC644}" dt="2023-02-18T17:00:34.842" v="526" actId="26606"/>
          <ac:grpSpMkLst>
            <pc:docMk/>
            <pc:sldMk cId="612878314" sldId="299"/>
            <ac:grpSpMk id="20" creationId="{89D1390B-7E13-4B4F-9CB2-391063412E54}"/>
          </ac:grpSpMkLst>
        </pc:grpChg>
        <pc:grpChg chg="add del">
          <ac:chgData name="Thomas Stensitzki" userId="75cafe6b-2f2a-469b-85c4-eec3b9c972ba" providerId="ADAL" clId="{596291A8-D1C0-462B-80C1-A1EE897DC644}" dt="2023-02-18T17:00:36.893" v="528" actId="26606"/>
          <ac:grpSpMkLst>
            <pc:docMk/>
            <pc:sldMk cId="612878314" sldId="299"/>
            <ac:grpSpMk id="28" creationId="{89D1390B-7E13-4B4F-9CB2-391063412E54}"/>
          </ac:grpSpMkLst>
        </pc:grpChg>
        <pc:grpChg chg="add del">
          <ac:chgData name="Thomas Stensitzki" userId="75cafe6b-2f2a-469b-85c4-eec3b9c972ba" providerId="ADAL" clId="{596291A8-D1C0-462B-80C1-A1EE897DC644}" dt="2023-02-18T17:01:09.979" v="538" actId="26606"/>
          <ac:grpSpMkLst>
            <pc:docMk/>
            <pc:sldMk cId="612878314" sldId="299"/>
            <ac:grpSpMk id="29" creationId="{87F87F1B-42BA-4AC7-A4E2-41544DDB2CE3}"/>
          </ac:grpSpMkLst>
        </pc:grpChg>
        <pc:grpChg chg="add del">
          <ac:chgData name="Thomas Stensitzki" userId="75cafe6b-2f2a-469b-85c4-eec3b9c972ba" providerId="ADAL" clId="{596291A8-D1C0-462B-80C1-A1EE897DC644}" dt="2023-02-18T17:00:41.196" v="532" actId="26606"/>
          <ac:grpSpMkLst>
            <pc:docMk/>
            <pc:sldMk cId="612878314" sldId="299"/>
            <ac:grpSpMk id="63" creationId="{117AB195-E690-4959-B435-3BC469C2CA48}"/>
          </ac:grpSpMkLst>
        </pc:grpChg>
        <pc:grpChg chg="add del">
          <ac:chgData name="Thomas Stensitzki" userId="75cafe6b-2f2a-469b-85c4-eec3b9c972ba" providerId="ADAL" clId="{596291A8-D1C0-462B-80C1-A1EE897DC644}" dt="2023-02-18T17:00:41.196" v="532" actId="26606"/>
          <ac:grpSpMkLst>
            <pc:docMk/>
            <pc:sldMk cId="612878314" sldId="299"/>
            <ac:grpSpMk id="70" creationId="{9D9672DB-F953-4898-9C52-03A164FADEDC}"/>
          </ac:grpSpMkLst>
        </pc:grpChg>
        <pc:grpChg chg="add del">
          <ac:chgData name="Thomas Stensitzki" userId="75cafe6b-2f2a-469b-85c4-eec3b9c972ba" providerId="ADAL" clId="{596291A8-D1C0-462B-80C1-A1EE897DC644}" dt="2023-02-18T17:00:42.663" v="534" actId="26606"/>
          <ac:grpSpMkLst>
            <pc:docMk/>
            <pc:sldMk cId="612878314" sldId="299"/>
            <ac:grpSpMk id="76" creationId="{B4C49FD3-CD95-4BA4-8BD3-B4A4C6844FCC}"/>
          </ac:grpSpMkLst>
        </pc:grpChg>
        <pc:grpChg chg="add del">
          <ac:chgData name="Thomas Stensitzki" userId="75cafe6b-2f2a-469b-85c4-eec3b9c972ba" providerId="ADAL" clId="{596291A8-D1C0-462B-80C1-A1EE897DC644}" dt="2023-02-18T17:01:09.979" v="538" actId="26606"/>
          <ac:grpSpMkLst>
            <pc:docMk/>
            <pc:sldMk cId="612878314" sldId="299"/>
            <ac:grpSpMk id="107" creationId="{D76D63AC-0421-45EC-B383-E79A61A78C6B}"/>
          </ac:grpSpMkLst>
        </pc:grpChg>
        <pc:grpChg chg="add del">
          <ac:chgData name="Thomas Stensitzki" userId="75cafe6b-2f2a-469b-85c4-eec3b9c972ba" providerId="ADAL" clId="{596291A8-D1C0-462B-80C1-A1EE897DC644}" dt="2023-02-18T17:01:09.979" v="538" actId="26606"/>
          <ac:grpSpMkLst>
            <pc:docMk/>
            <pc:sldMk cId="612878314" sldId="299"/>
            <ac:grpSpMk id="114" creationId="{967346A5-7569-4F15-AB5D-BE3DADF192C0}"/>
          </ac:grpSpMkLst>
        </pc:grpChg>
        <pc:picChg chg="add del">
          <ac:chgData name="Thomas Stensitzki" userId="75cafe6b-2f2a-469b-85c4-eec3b9c972ba" providerId="ADAL" clId="{596291A8-D1C0-462B-80C1-A1EE897DC644}" dt="2023-02-18T17:00:34.842" v="526" actId="26606"/>
          <ac:picMkLst>
            <pc:docMk/>
            <pc:sldMk cId="612878314" sldId="299"/>
            <ac:picMk id="13" creationId="{3B74BC4C-5A3D-DF6F-5620-DDA9879BF6D7}"/>
          </ac:picMkLst>
        </pc:picChg>
        <pc:picChg chg="add del">
          <ac:chgData name="Thomas Stensitzki" userId="75cafe6b-2f2a-469b-85c4-eec3b9c972ba" providerId="ADAL" clId="{596291A8-D1C0-462B-80C1-A1EE897DC644}" dt="2023-02-18T17:00:36.893" v="528" actId="26606"/>
          <ac:picMkLst>
            <pc:docMk/>
            <pc:sldMk cId="612878314" sldId="299"/>
            <ac:picMk id="27" creationId="{7A04A437-2963-90D2-3E1B-2596128CB396}"/>
          </ac:picMkLst>
        </pc:picChg>
        <pc:cxnChg chg="add del">
          <ac:chgData name="Thomas Stensitzki" userId="75cafe6b-2f2a-469b-85c4-eec3b9c972ba" providerId="ADAL" clId="{596291A8-D1C0-462B-80C1-A1EE897DC644}" dt="2023-02-18T17:00:58.651" v="536" actId="26606"/>
          <ac:cxnSpMkLst>
            <pc:docMk/>
            <pc:sldMk cId="612878314" sldId="299"/>
            <ac:cxnSpMk id="102" creationId="{56020367-4FD5-4596-8E10-C5F095CD8DBF}"/>
          </ac:cxnSpMkLst>
        </pc:cxnChg>
      </pc:sldChg>
      <pc:sldChg chg="del">
        <pc:chgData name="Thomas Stensitzki" userId="75cafe6b-2f2a-469b-85c4-eec3b9c972ba" providerId="ADAL" clId="{596291A8-D1C0-462B-80C1-A1EE897DC644}" dt="2023-02-18T16:48:28.099" v="81" actId="47"/>
        <pc:sldMkLst>
          <pc:docMk/>
          <pc:sldMk cId="165395742" sldId="301"/>
        </pc:sldMkLst>
      </pc:sldChg>
      <pc:sldChg chg="addSp modSp">
        <pc:chgData name="Thomas Stensitzki" userId="75cafe6b-2f2a-469b-85c4-eec3b9c972ba" providerId="ADAL" clId="{596291A8-D1C0-462B-80C1-A1EE897DC644}" dt="2023-02-18T17:02:56.606" v="554" actId="1440"/>
        <pc:sldMkLst>
          <pc:docMk/>
          <pc:sldMk cId="2153189406" sldId="303"/>
        </pc:sldMkLst>
        <pc:spChg chg="mod">
          <ac:chgData name="Thomas Stensitzki" userId="75cafe6b-2f2a-469b-85c4-eec3b9c972ba" providerId="ADAL" clId="{596291A8-D1C0-462B-80C1-A1EE897DC644}" dt="2023-02-18T17:02:51.023" v="553" actId="164"/>
          <ac:spMkLst>
            <pc:docMk/>
            <pc:sldMk cId="2153189406" sldId="303"/>
            <ac:spMk id="2" creationId="{A909D6B9-5D1D-1334-E19B-16654E3B8A9F}"/>
          </ac:spMkLst>
        </pc:spChg>
        <pc:grpChg chg="add mod">
          <ac:chgData name="Thomas Stensitzki" userId="75cafe6b-2f2a-469b-85c4-eec3b9c972ba" providerId="ADAL" clId="{596291A8-D1C0-462B-80C1-A1EE897DC644}" dt="2023-02-18T17:02:56.606" v="554" actId="1440"/>
          <ac:grpSpMkLst>
            <pc:docMk/>
            <pc:sldMk cId="2153189406" sldId="303"/>
            <ac:grpSpMk id="3" creationId="{8E0B9559-706E-FFBB-92F4-73559B252874}"/>
          </ac:grpSpMkLst>
        </pc:grpChg>
        <pc:picChg chg="mod">
          <ac:chgData name="Thomas Stensitzki" userId="75cafe6b-2f2a-469b-85c4-eec3b9c972ba" providerId="ADAL" clId="{596291A8-D1C0-462B-80C1-A1EE897DC644}" dt="2023-02-18T17:02:51.023" v="553" actId="164"/>
          <ac:picMkLst>
            <pc:docMk/>
            <pc:sldMk cId="2153189406" sldId="303"/>
            <ac:picMk id="1026" creationId="{29602C08-83FC-01F2-084C-BE0D3A02B898}"/>
          </ac:picMkLst>
        </pc:picChg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1210872167" sldId="304"/>
        </pc:sldMkLst>
      </pc:sldChg>
      <pc:sldChg chg="del">
        <pc:chgData name="Thomas Stensitzki" userId="75cafe6b-2f2a-469b-85c4-eec3b9c972ba" providerId="ADAL" clId="{596291A8-D1C0-462B-80C1-A1EE897DC644}" dt="2023-02-18T16:48:01.551" v="58" actId="47"/>
        <pc:sldMkLst>
          <pc:docMk/>
          <pc:sldMk cId="1286675129" sldId="305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876685722" sldId="306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4249625451" sldId="307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3803198966" sldId="308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2684566918" sldId="309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897376150" sldId="310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2857984056" sldId="311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3237385589" sldId="312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3486645026" sldId="313"/>
        </pc:sldMkLst>
      </pc:sldChg>
      <pc:sldChg chg="del">
        <pc:chgData name="Thomas Stensitzki" userId="75cafe6b-2f2a-469b-85c4-eec3b9c972ba" providerId="ADAL" clId="{596291A8-D1C0-462B-80C1-A1EE897DC644}" dt="2023-02-18T16:47:47.333" v="55" actId="47"/>
        <pc:sldMkLst>
          <pc:docMk/>
          <pc:sldMk cId="4142284166" sldId="314"/>
        </pc:sldMkLst>
      </pc:sldChg>
      <pc:sldChg chg="del">
        <pc:chgData name="Thomas Stensitzki" userId="75cafe6b-2f2a-469b-85c4-eec3b9c972ba" providerId="ADAL" clId="{596291A8-D1C0-462B-80C1-A1EE897DC644}" dt="2023-02-18T16:48:28.099" v="81" actId="47"/>
        <pc:sldMkLst>
          <pc:docMk/>
          <pc:sldMk cId="1572236239" sldId="315"/>
        </pc:sldMkLst>
      </pc:sldChg>
      <pc:sldChg chg="del">
        <pc:chgData name="Thomas Stensitzki" userId="75cafe6b-2f2a-469b-85c4-eec3b9c972ba" providerId="ADAL" clId="{596291A8-D1C0-462B-80C1-A1EE897DC644}" dt="2023-02-18T16:47:54.653" v="56" actId="47"/>
        <pc:sldMkLst>
          <pc:docMk/>
          <pc:sldMk cId="3945570708" sldId="316"/>
        </pc:sldMkLst>
      </pc:sldChg>
      <pc:sldChg chg="del">
        <pc:chgData name="Thomas Stensitzki" userId="75cafe6b-2f2a-469b-85c4-eec3b9c972ba" providerId="ADAL" clId="{596291A8-D1C0-462B-80C1-A1EE897DC644}" dt="2023-02-18T16:47:54.653" v="56" actId="47"/>
        <pc:sldMkLst>
          <pc:docMk/>
          <pc:sldMk cId="3636321901" sldId="317"/>
        </pc:sldMkLst>
      </pc:sldChg>
      <pc:sldChg chg="del">
        <pc:chgData name="Thomas Stensitzki" userId="75cafe6b-2f2a-469b-85c4-eec3b9c972ba" providerId="ADAL" clId="{596291A8-D1C0-462B-80C1-A1EE897DC644}" dt="2023-02-18T16:47:54.653" v="56" actId="47"/>
        <pc:sldMkLst>
          <pc:docMk/>
          <pc:sldMk cId="1204233614" sldId="318"/>
        </pc:sldMkLst>
      </pc:sldChg>
      <pc:sldChg chg="del">
        <pc:chgData name="Thomas Stensitzki" userId="75cafe6b-2f2a-469b-85c4-eec3b9c972ba" providerId="ADAL" clId="{596291A8-D1C0-462B-80C1-A1EE897DC644}" dt="2023-02-18T16:47:54.653" v="56" actId="47"/>
        <pc:sldMkLst>
          <pc:docMk/>
          <pc:sldMk cId="273821020" sldId="320"/>
        </pc:sldMkLst>
      </pc:sldChg>
      <pc:sldChg chg="del">
        <pc:chgData name="Thomas Stensitzki" userId="75cafe6b-2f2a-469b-85c4-eec3b9c972ba" providerId="ADAL" clId="{596291A8-D1C0-462B-80C1-A1EE897DC644}" dt="2023-02-18T16:47:58.130" v="57" actId="47"/>
        <pc:sldMkLst>
          <pc:docMk/>
          <pc:sldMk cId="3594537515" sldId="321"/>
        </pc:sldMkLst>
      </pc:sldChg>
      <pc:sldChg chg="del">
        <pc:chgData name="Thomas Stensitzki" userId="75cafe6b-2f2a-469b-85c4-eec3b9c972ba" providerId="ADAL" clId="{596291A8-D1C0-462B-80C1-A1EE897DC644}" dt="2023-02-18T16:48:30.969" v="82" actId="47"/>
        <pc:sldMkLst>
          <pc:docMk/>
          <pc:sldMk cId="2449884509" sldId="322"/>
        </pc:sldMkLst>
      </pc:sldChg>
      <pc:sldChg chg="del">
        <pc:chgData name="Thomas Stensitzki" userId="75cafe6b-2f2a-469b-85c4-eec3b9c972ba" providerId="ADAL" clId="{596291A8-D1C0-462B-80C1-A1EE897DC644}" dt="2023-02-18T16:48:30.969" v="82" actId="47"/>
        <pc:sldMkLst>
          <pc:docMk/>
          <pc:sldMk cId="97824799" sldId="323"/>
        </pc:sldMkLst>
      </pc:sldChg>
      <pc:sldChg chg="del">
        <pc:chgData name="Thomas Stensitzki" userId="75cafe6b-2f2a-469b-85c4-eec3b9c972ba" providerId="ADAL" clId="{596291A8-D1C0-462B-80C1-A1EE897DC644}" dt="2023-02-18T16:48:34.024" v="83" actId="47"/>
        <pc:sldMkLst>
          <pc:docMk/>
          <pc:sldMk cId="2658790144" sldId="324"/>
        </pc:sldMkLst>
      </pc:sldChg>
      <pc:sldChg chg="del">
        <pc:chgData name="Thomas Stensitzki" userId="75cafe6b-2f2a-469b-85c4-eec3b9c972ba" providerId="ADAL" clId="{596291A8-D1C0-462B-80C1-A1EE897DC644}" dt="2023-02-18T16:48:30.969" v="82" actId="47"/>
        <pc:sldMkLst>
          <pc:docMk/>
          <pc:sldMk cId="3576904232" sldId="325"/>
        </pc:sldMkLst>
      </pc:sldChg>
      <pc:sldChg chg="modSp new mod">
        <pc:chgData name="Thomas Stensitzki" userId="75cafe6b-2f2a-469b-85c4-eec3b9c972ba" providerId="ADAL" clId="{596291A8-D1C0-462B-80C1-A1EE897DC644}" dt="2023-02-18T17:00:17.146" v="524" actId="20577"/>
        <pc:sldMkLst>
          <pc:docMk/>
          <pc:sldMk cId="3161508877" sldId="328"/>
        </pc:sldMkLst>
        <pc:spChg chg="mod">
          <ac:chgData name="Thomas Stensitzki" userId="75cafe6b-2f2a-469b-85c4-eec3b9c972ba" providerId="ADAL" clId="{596291A8-D1C0-462B-80C1-A1EE897DC644}" dt="2023-02-18T17:00:17.146" v="524" actId="20577"/>
          <ac:spMkLst>
            <pc:docMk/>
            <pc:sldMk cId="3161508877" sldId="328"/>
            <ac:spMk id="2" creationId="{B44D7F11-0839-8D51-7B83-AABA476B20AD}"/>
          </ac:spMkLst>
        </pc:spChg>
        <pc:spChg chg="mod">
          <ac:chgData name="Thomas Stensitzki" userId="75cafe6b-2f2a-469b-85c4-eec3b9c972ba" providerId="ADAL" clId="{596291A8-D1C0-462B-80C1-A1EE897DC644}" dt="2023-02-18T16:52:06.176" v="185" actId="20577"/>
          <ac:spMkLst>
            <pc:docMk/>
            <pc:sldMk cId="3161508877" sldId="328"/>
            <ac:spMk id="3" creationId="{EE137313-85F7-FFB8-600D-63A8E569AC24}"/>
          </ac:spMkLst>
        </pc:spChg>
      </pc:sldChg>
      <pc:sldChg chg="addSp delSp modSp new mod">
        <pc:chgData name="Thomas Stensitzki" userId="75cafe6b-2f2a-469b-85c4-eec3b9c972ba" providerId="ADAL" clId="{596291A8-D1C0-462B-80C1-A1EE897DC644}" dt="2023-02-18T16:59:59.140" v="510" actId="12100"/>
        <pc:sldMkLst>
          <pc:docMk/>
          <pc:sldMk cId="1597960128" sldId="329"/>
        </pc:sldMkLst>
        <pc:spChg chg="mod">
          <ac:chgData name="Thomas Stensitzki" userId="75cafe6b-2f2a-469b-85c4-eec3b9c972ba" providerId="ADAL" clId="{596291A8-D1C0-462B-80C1-A1EE897DC644}" dt="2023-02-18T16:53:01.528" v="230" actId="20577"/>
          <ac:spMkLst>
            <pc:docMk/>
            <pc:sldMk cId="1597960128" sldId="329"/>
            <ac:spMk id="2" creationId="{4C3DFA5F-329D-3085-2853-99BFC4E751F3}"/>
          </ac:spMkLst>
        </pc:spChg>
        <pc:spChg chg="add del mod">
          <ac:chgData name="Thomas Stensitzki" userId="75cafe6b-2f2a-469b-85c4-eec3b9c972ba" providerId="ADAL" clId="{596291A8-D1C0-462B-80C1-A1EE897DC644}" dt="2023-02-18T16:59:28.692" v="509" actId="26606"/>
          <ac:spMkLst>
            <pc:docMk/>
            <pc:sldMk cId="1597960128" sldId="329"/>
            <ac:spMk id="3" creationId="{426AE5F2-B607-A0BD-4193-826B09B43DF0}"/>
          </ac:spMkLst>
        </pc:spChg>
        <pc:spChg chg="add del mod">
          <ac:chgData name="Thomas Stensitzki" userId="75cafe6b-2f2a-469b-85c4-eec3b9c972ba" providerId="ADAL" clId="{596291A8-D1C0-462B-80C1-A1EE897DC644}" dt="2023-02-18T16:58:44.436" v="433" actId="478"/>
          <ac:spMkLst>
            <pc:docMk/>
            <pc:sldMk cId="1597960128" sldId="329"/>
            <ac:spMk id="13" creationId="{8B94521C-4742-9A18-ED31-B9ADF10D175C}"/>
          </ac:spMkLst>
        </pc:spChg>
        <pc:graphicFrameChg chg="add del">
          <ac:chgData name="Thomas Stensitzki" userId="75cafe6b-2f2a-469b-85c4-eec3b9c972ba" providerId="ADAL" clId="{596291A8-D1C0-462B-80C1-A1EE897DC644}" dt="2023-02-18T16:55:50.323" v="404" actId="26606"/>
          <ac:graphicFrameMkLst>
            <pc:docMk/>
            <pc:sldMk cId="1597960128" sldId="329"/>
            <ac:graphicFrameMk id="6" creationId="{7F5A1D3B-D7D5-A84E-447B-89DFEAFF3F50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7:01.919" v="425" actId="26606"/>
          <ac:graphicFrameMkLst>
            <pc:docMk/>
            <pc:sldMk cId="1597960128" sldId="329"/>
            <ac:graphicFrameMk id="7" creationId="{956A7E43-44AA-D380-B0B9-F227C9EEFFF4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5:55.331" v="406" actId="26606"/>
          <ac:graphicFrameMkLst>
            <pc:docMk/>
            <pc:sldMk cId="1597960128" sldId="329"/>
            <ac:graphicFrameMk id="8" creationId="{A33AAFA8-DB24-6F38-8BA3-E0826EF0D343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9:24.882" v="504" actId="26606"/>
          <ac:graphicFrameMkLst>
            <pc:docMk/>
            <pc:sldMk cId="1597960128" sldId="329"/>
            <ac:graphicFrameMk id="9" creationId="{3B4FCBBD-8D49-F779-463C-0EF41D337D18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5:58.237" v="408" actId="26606"/>
          <ac:graphicFrameMkLst>
            <pc:docMk/>
            <pc:sldMk cId="1597960128" sldId="329"/>
            <ac:graphicFrameMk id="10" creationId="{A6AE9A0E-E8A0-7315-E097-25F508F20CF0}"/>
          </ac:graphicFrameMkLst>
        </pc:graphicFrameChg>
        <pc:graphicFrameChg chg="add del mod">
          <ac:chgData name="Thomas Stensitzki" userId="75cafe6b-2f2a-469b-85c4-eec3b9c972ba" providerId="ADAL" clId="{596291A8-D1C0-462B-80C1-A1EE897DC644}" dt="2023-02-18T16:56:31.905" v="411" actId="26606"/>
          <ac:graphicFrameMkLst>
            <pc:docMk/>
            <pc:sldMk cId="1597960128" sldId="329"/>
            <ac:graphicFrameMk id="12" creationId="{A33AAFA8-DB24-6F38-8BA3-E0826EF0D343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9:26.605" v="506" actId="26606"/>
          <ac:graphicFrameMkLst>
            <pc:docMk/>
            <pc:sldMk cId="1597960128" sldId="329"/>
            <ac:graphicFrameMk id="14" creationId="{AC7F9E48-AFF6-F3CB-3F7F-B5B3C56BE95D}"/>
          </ac:graphicFrameMkLst>
        </pc:graphicFrameChg>
        <pc:graphicFrameChg chg="add del">
          <ac:chgData name="Thomas Stensitzki" userId="75cafe6b-2f2a-469b-85c4-eec3b9c972ba" providerId="ADAL" clId="{596291A8-D1C0-462B-80C1-A1EE897DC644}" dt="2023-02-18T16:59:28.674" v="508" actId="26606"/>
          <ac:graphicFrameMkLst>
            <pc:docMk/>
            <pc:sldMk cId="1597960128" sldId="329"/>
            <ac:graphicFrameMk id="16" creationId="{992F2B7E-53C1-A082-F68D-E27ED9021B48}"/>
          </ac:graphicFrameMkLst>
        </pc:graphicFrameChg>
        <pc:graphicFrameChg chg="add mod">
          <ac:chgData name="Thomas Stensitzki" userId="75cafe6b-2f2a-469b-85c4-eec3b9c972ba" providerId="ADAL" clId="{596291A8-D1C0-462B-80C1-A1EE897DC644}" dt="2023-02-18T16:59:59.140" v="510" actId="12100"/>
          <ac:graphicFrameMkLst>
            <pc:docMk/>
            <pc:sldMk cId="1597960128" sldId="329"/>
            <ac:graphicFrameMk id="18" creationId="{2D4E665F-BA7C-00FA-0750-36DA0DA86FB8}"/>
          </ac:graphicFrameMkLst>
        </pc:graphicFrameChg>
        <pc:picChg chg="add del mod">
          <ac:chgData name="Thomas Stensitzki" userId="75cafe6b-2f2a-469b-85c4-eec3b9c972ba" providerId="ADAL" clId="{596291A8-D1C0-462B-80C1-A1EE897DC644}" dt="2023-02-18T16:54:04.939" v="243" actId="478"/>
          <ac:picMkLst>
            <pc:docMk/>
            <pc:sldMk cId="1597960128" sldId="329"/>
            <ac:picMk id="5" creationId="{8E19F7B9-C345-4527-3F3F-318F39AF5C93}"/>
          </ac:picMkLst>
        </pc:picChg>
        <pc:picChg chg="add del mod">
          <ac:chgData name="Thomas Stensitzki" userId="75cafe6b-2f2a-469b-85c4-eec3b9c972ba" providerId="ADAL" clId="{596291A8-D1C0-462B-80C1-A1EE897DC644}" dt="2023-02-18T16:58:42.609" v="432" actId="478"/>
          <ac:picMkLst>
            <pc:docMk/>
            <pc:sldMk cId="1597960128" sldId="329"/>
            <ac:picMk id="11" creationId="{534C33AF-577F-3AE8-E7F0-E60603B2442B}"/>
          </ac:picMkLst>
        </pc:pic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E95FD17A-36A4-476A-A66C-A316172386D2}"/>
    <pc:docChg chg="custSel addSld modSld sldOrd addSection modSection">
      <pc:chgData name="Thomas Stensitzki" userId="75cafe6b-2f2a-469b-85c4-eec3b9c972ba" providerId="ADAL" clId="{E95FD17A-36A4-476A-A66C-A316172386D2}" dt="2021-06-10T13:59:40.167" v="473" actId="20577"/>
      <pc:docMkLst>
        <pc:docMk/>
      </pc:docMkLst>
      <pc:sldChg chg="modSp mod">
        <pc:chgData name="Thomas Stensitzki" userId="75cafe6b-2f2a-469b-85c4-eec3b9c972ba" providerId="ADAL" clId="{E95FD17A-36A4-476A-A66C-A316172386D2}" dt="2021-06-10T13:29:42.393" v="29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95FD17A-36A4-476A-A66C-A316172386D2}" dt="2021-06-10T13:29:42.393" v="29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">
        <pc:chgData name="Thomas Stensitzki" userId="75cafe6b-2f2a-469b-85c4-eec3b9c972ba" providerId="ADAL" clId="{E95FD17A-36A4-476A-A66C-A316172386D2}" dt="2021-06-10T13:59:40.167" v="473" actId="20577"/>
        <pc:sldMkLst>
          <pc:docMk/>
          <pc:sldMk cId="1120448015" sldId="283"/>
        </pc:sldMkLst>
        <pc:spChg chg="mod">
          <ac:chgData name="Thomas Stensitzki" userId="75cafe6b-2f2a-469b-85c4-eec3b9c972ba" providerId="ADAL" clId="{E95FD17A-36A4-476A-A66C-A316172386D2}" dt="2021-06-10T13:59:33.297" v="454" actId="27636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E95FD17A-36A4-476A-A66C-A316172386D2}" dt="2021-06-10T13:59:40.167" v="473" actId="20577"/>
          <ac:spMkLst>
            <pc:docMk/>
            <pc:sldMk cId="1120448015" sldId="283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E95FD17A-36A4-476A-A66C-A316172386D2}" dt="2021-06-10T13:59:04.009" v="447" actId="790"/>
        <pc:sldMkLst>
          <pc:docMk/>
          <pc:sldMk cId="848503523" sldId="286"/>
        </pc:sldMkLst>
        <pc:spChg chg="mod">
          <ac:chgData name="Thomas Stensitzki" userId="75cafe6b-2f2a-469b-85c4-eec3b9c972ba" providerId="ADAL" clId="{E95FD17A-36A4-476A-A66C-A316172386D2}" dt="2021-06-10T13:29:59.592" v="31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E95FD17A-36A4-476A-A66C-A316172386D2}" dt="2021-06-10T13:59:04.009" v="447" actId="790"/>
          <ac:spMkLst>
            <pc:docMk/>
            <pc:sldMk cId="848503523" sldId="286"/>
            <ac:spMk id="3" creationId="{5A9BE1F8-07C8-4A22-93C8-5725DE760CD3}"/>
          </ac:spMkLst>
        </pc:spChg>
      </pc:sldChg>
      <pc:sldChg chg="add">
        <pc:chgData name="Thomas Stensitzki" userId="75cafe6b-2f2a-469b-85c4-eec3b9c972ba" providerId="ADAL" clId="{E95FD17A-36A4-476A-A66C-A316172386D2}" dt="2021-06-10T13:59:08.712" v="448"/>
        <pc:sldMkLst>
          <pc:docMk/>
          <pc:sldMk cId="1800322613" sldId="287"/>
        </pc:sldMkLst>
      </pc:sldChg>
    </pc:docChg>
  </pc:docChgLst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E7CFEF31-F78D-4AB2-82EA-48FEA1DAF329}"/>
    <pc:docChg chg="undo custSel addSld delSld modSld sldOrd modSection">
      <pc:chgData name="Thomas Stensitzki" userId="75cafe6b-2f2a-469b-85c4-eec3b9c972ba" providerId="ADAL" clId="{E7CFEF31-F78D-4AB2-82EA-48FEA1DAF329}" dt="2022-11-04T10:44:04.918" v="7113" actId="20577"/>
      <pc:docMkLst>
        <pc:docMk/>
      </pc:docMkLst>
      <pc:sldChg chg="modSp mod">
        <pc:chgData name="Thomas Stensitzki" userId="75cafe6b-2f2a-469b-85c4-eec3b9c972ba" providerId="ADAL" clId="{E7CFEF31-F78D-4AB2-82EA-48FEA1DAF329}" dt="2022-08-19T06:52:41.855" v="711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7CFEF31-F78D-4AB2-82EA-48FEA1DAF329}" dt="2022-08-13T12:21:06.701" v="8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E7CFEF31-F78D-4AB2-82EA-48FEA1DAF329}" dt="2022-08-19T06:52:41.855" v="7110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">
        <pc:chgData name="Thomas Stensitzki" userId="75cafe6b-2f2a-469b-85c4-eec3b9c972ba" providerId="ADAL" clId="{E7CFEF31-F78D-4AB2-82EA-48FEA1DAF329}" dt="2022-08-13T14:55:47.182" v="4215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E7CFEF31-F78D-4AB2-82EA-48FEA1DAF329}" dt="2022-08-13T14:55:47.182" v="4215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Sp mod">
        <pc:chgData name="Thomas Stensitzki" userId="75cafe6b-2f2a-469b-85c4-eec3b9c972ba" providerId="ADAL" clId="{E7CFEF31-F78D-4AB2-82EA-48FEA1DAF329}" dt="2022-08-18T08:14:17.491" v="7044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E7CFEF31-F78D-4AB2-82EA-48FEA1DAF329}" dt="2022-08-18T08:14:17.491" v="7044" actId="20577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E7CFEF31-F78D-4AB2-82EA-48FEA1DAF329}" dt="2022-08-13T12:25:49.020" v="95" actId="20577"/>
        <pc:sldMkLst>
          <pc:docMk/>
          <pc:sldMk cId="512821701" sldId="298"/>
        </pc:sldMkLst>
        <pc:spChg chg="mod">
          <ac:chgData name="Thomas Stensitzki" userId="75cafe6b-2f2a-469b-85c4-eec3b9c972ba" providerId="ADAL" clId="{E7CFEF31-F78D-4AB2-82EA-48FEA1DAF329}" dt="2022-08-13T12:25:41.916" v="74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E7CFEF31-F78D-4AB2-82EA-48FEA1DAF329}" dt="2022-08-13T12:25:49.020" v="95" actId="20577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E7CFEF31-F78D-4AB2-82EA-48FEA1DAF329}" dt="2022-08-13T12:52:54.834" v="1360" actId="6549"/>
        <pc:sldMkLst>
          <pc:docMk/>
          <pc:sldMk cId="612878314" sldId="299"/>
        </pc:sldMkLst>
        <pc:spChg chg="mod">
          <ac:chgData name="Thomas Stensitzki" userId="75cafe6b-2f2a-469b-85c4-eec3b9c972ba" providerId="ADAL" clId="{E7CFEF31-F78D-4AB2-82EA-48FEA1DAF329}" dt="2022-08-13T12:52:54.834" v="1360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E7CFEF31-F78D-4AB2-82EA-48FEA1DAF329}" dt="2022-08-13T12:26:29.377" v="158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addSp modSp del mod">
        <pc:chgData name="Thomas Stensitzki" userId="75cafe6b-2f2a-469b-85c4-eec3b9c972ba" providerId="ADAL" clId="{E7CFEF31-F78D-4AB2-82EA-48FEA1DAF329}" dt="2022-08-13T12:24:06.500" v="53" actId="47"/>
        <pc:sldMkLst>
          <pc:docMk/>
          <pc:sldMk cId="254634099" sldId="300"/>
        </pc:sldMkLst>
        <pc:spChg chg="add mod ord">
          <ac:chgData name="Thomas Stensitzki" userId="75cafe6b-2f2a-469b-85c4-eec3b9c972ba" providerId="ADAL" clId="{E7CFEF31-F78D-4AB2-82EA-48FEA1DAF329}" dt="2022-08-13T12:23:41.066" v="41" actId="14100"/>
          <ac:spMkLst>
            <pc:docMk/>
            <pc:sldMk cId="254634099" sldId="300"/>
            <ac:spMk id="2" creationId="{A909D6B9-5D1D-1334-E19B-16654E3B8A9F}"/>
          </ac:spMkLst>
        </pc:spChg>
        <pc:spChg chg="mod">
          <ac:chgData name="Thomas Stensitzki" userId="75cafe6b-2f2a-469b-85c4-eec3b9c972ba" providerId="ADAL" clId="{E7CFEF31-F78D-4AB2-82EA-48FEA1DAF329}" dt="2022-08-13T12:23:44.758" v="48" actId="20577"/>
          <ac:spMkLst>
            <pc:docMk/>
            <pc:sldMk cId="254634099" sldId="300"/>
            <ac:spMk id="5" creationId="{D7A2D598-B3FE-4D80-9241-7F9C19D61446}"/>
          </ac:spMkLst>
        </pc:spChg>
        <pc:picChg chg="add mod">
          <ac:chgData name="Thomas Stensitzki" userId="75cafe6b-2f2a-469b-85c4-eec3b9c972ba" providerId="ADAL" clId="{E7CFEF31-F78D-4AB2-82EA-48FEA1DAF329}" dt="2022-08-13T12:22:37.578" v="32" actId="1076"/>
          <ac:picMkLst>
            <pc:docMk/>
            <pc:sldMk cId="254634099" sldId="300"/>
            <ac:picMk id="1026" creationId="{29602C08-83FC-01F2-084C-BE0D3A02B898}"/>
          </ac:picMkLst>
        </pc:picChg>
      </pc:sldChg>
      <pc:sldChg chg="addSp delSp modSp mod modClrScheme modShow chgLayout">
        <pc:chgData name="Thomas Stensitzki" userId="75cafe6b-2f2a-469b-85c4-eec3b9c972ba" providerId="ADAL" clId="{E7CFEF31-F78D-4AB2-82EA-48FEA1DAF329}" dt="2022-08-18T07:19:10.587" v="6933" actId="20577"/>
        <pc:sldMkLst>
          <pc:docMk/>
          <pc:sldMk cId="165395742" sldId="301"/>
        </pc:sldMkLst>
        <pc:spChg chg="add mod ord">
          <ac:chgData name="Thomas Stensitzki" userId="75cafe6b-2f2a-469b-85c4-eec3b9c972ba" providerId="ADAL" clId="{E7CFEF31-F78D-4AB2-82EA-48FEA1DAF329}" dt="2022-08-18T07:19:10.587" v="6933" actId="20577"/>
          <ac:spMkLst>
            <pc:docMk/>
            <pc:sldMk cId="165395742" sldId="301"/>
            <ac:spMk id="2" creationId="{12B048C9-F44C-C380-8C1A-E36BAEE20DD6}"/>
          </ac:spMkLst>
        </pc:spChg>
        <pc:spChg chg="add mod ord">
          <ac:chgData name="Thomas Stensitzki" userId="75cafe6b-2f2a-469b-85c4-eec3b9c972ba" providerId="ADAL" clId="{E7CFEF31-F78D-4AB2-82EA-48FEA1DAF329}" dt="2022-08-13T14:54:12.269" v="4155"/>
          <ac:spMkLst>
            <pc:docMk/>
            <pc:sldMk cId="165395742" sldId="301"/>
            <ac:spMk id="3" creationId="{31848483-1018-11C0-E76C-5FDB4C89F386}"/>
          </ac:spMkLst>
        </pc:spChg>
        <pc:spChg chg="mod ord">
          <ac:chgData name="Thomas Stensitzki" userId="75cafe6b-2f2a-469b-85c4-eec3b9c972ba" providerId="ADAL" clId="{E7CFEF31-F78D-4AB2-82EA-48FEA1DAF329}" dt="2022-08-13T14:53:06.519" v="4103" actId="700"/>
          <ac:spMkLst>
            <pc:docMk/>
            <pc:sldMk cId="165395742" sldId="301"/>
            <ac:spMk id="5" creationId="{EF33DA07-BDE5-4D8B-B332-D6D77536E093}"/>
          </ac:spMkLst>
        </pc:spChg>
        <pc:spChg chg="add del">
          <ac:chgData name="Thomas Stensitzki" userId="75cafe6b-2f2a-469b-85c4-eec3b9c972ba" providerId="ADAL" clId="{E7CFEF31-F78D-4AB2-82EA-48FEA1DAF329}" dt="2022-08-13T14:57:02.970" v="4239" actId="22"/>
          <ac:spMkLst>
            <pc:docMk/>
            <pc:sldMk cId="165395742" sldId="301"/>
            <ac:spMk id="6" creationId="{146A792B-EA8C-9CFB-D8B0-F75217650C70}"/>
          </ac:spMkLst>
        </pc:spChg>
      </pc:sldChg>
      <pc:sldChg chg="del">
        <pc:chgData name="Thomas Stensitzki" userId="75cafe6b-2f2a-469b-85c4-eec3b9c972ba" providerId="ADAL" clId="{E7CFEF31-F78D-4AB2-82EA-48FEA1DAF329}" dt="2022-08-13T14:55:27.984" v="4202" actId="2696"/>
        <pc:sldMkLst>
          <pc:docMk/>
          <pc:sldMk cId="925377618" sldId="302"/>
        </pc:sldMkLst>
      </pc:sldChg>
      <pc:sldChg chg="add ord">
        <pc:chgData name="Thomas Stensitzki" userId="75cafe6b-2f2a-469b-85c4-eec3b9c972ba" providerId="ADAL" clId="{E7CFEF31-F78D-4AB2-82EA-48FEA1DAF329}" dt="2022-08-13T12:23:56.987" v="51"/>
        <pc:sldMkLst>
          <pc:docMk/>
          <pc:sldMk cId="2153189406" sldId="303"/>
        </pc:sldMkLst>
      </pc:sldChg>
      <pc:sldChg chg="modSp new mod modAnim">
        <pc:chgData name="Thomas Stensitzki" userId="75cafe6b-2f2a-469b-85c4-eec3b9c972ba" providerId="ADAL" clId="{E7CFEF31-F78D-4AB2-82EA-48FEA1DAF329}" dt="2022-08-18T07:09:01.516" v="6873"/>
        <pc:sldMkLst>
          <pc:docMk/>
          <pc:sldMk cId="1210872167" sldId="304"/>
        </pc:sldMkLst>
        <pc:spChg chg="mod">
          <ac:chgData name="Thomas Stensitzki" userId="75cafe6b-2f2a-469b-85c4-eec3b9c972ba" providerId="ADAL" clId="{E7CFEF31-F78D-4AB2-82EA-48FEA1DAF329}" dt="2022-08-13T12:28:57.145" v="198" actId="20577"/>
          <ac:spMkLst>
            <pc:docMk/>
            <pc:sldMk cId="1210872167" sldId="304"/>
            <ac:spMk id="2" creationId="{36D4A3FA-2161-3607-6939-55D994306D0C}"/>
          </ac:spMkLst>
        </pc:spChg>
        <pc:spChg chg="mod">
          <ac:chgData name="Thomas Stensitzki" userId="75cafe6b-2f2a-469b-85c4-eec3b9c972ba" providerId="ADAL" clId="{E7CFEF31-F78D-4AB2-82EA-48FEA1DAF329}" dt="2022-08-13T14:04:46.855" v="2860" actId="20577"/>
          <ac:spMkLst>
            <pc:docMk/>
            <pc:sldMk cId="1210872167" sldId="304"/>
            <ac:spMk id="3" creationId="{ABCC6013-0369-92AA-2C7A-78E326E92880}"/>
          </ac:spMkLst>
        </pc:spChg>
      </pc:sldChg>
      <pc:sldChg chg="modSp new mod">
        <pc:chgData name="Thomas Stensitzki" userId="75cafe6b-2f2a-469b-85c4-eec3b9c972ba" providerId="ADAL" clId="{E7CFEF31-F78D-4AB2-82EA-48FEA1DAF329}" dt="2022-08-14T11:31:59.940" v="5307" actId="20577"/>
        <pc:sldMkLst>
          <pc:docMk/>
          <pc:sldMk cId="1286675129" sldId="305"/>
        </pc:sldMkLst>
        <pc:spChg chg="mod">
          <ac:chgData name="Thomas Stensitzki" userId="75cafe6b-2f2a-469b-85c4-eec3b9c972ba" providerId="ADAL" clId="{E7CFEF31-F78D-4AB2-82EA-48FEA1DAF329}" dt="2022-08-13T12:30:56.623" v="350" actId="20577"/>
          <ac:spMkLst>
            <pc:docMk/>
            <pc:sldMk cId="1286675129" sldId="305"/>
            <ac:spMk id="2" creationId="{687D95A5-39CB-FA76-0C40-14C7E1EF2FAD}"/>
          </ac:spMkLst>
        </pc:spChg>
        <pc:spChg chg="mod">
          <ac:chgData name="Thomas Stensitzki" userId="75cafe6b-2f2a-469b-85c4-eec3b9c972ba" providerId="ADAL" clId="{E7CFEF31-F78D-4AB2-82EA-48FEA1DAF329}" dt="2022-08-14T11:31:59.940" v="5307" actId="20577"/>
          <ac:spMkLst>
            <pc:docMk/>
            <pc:sldMk cId="1286675129" sldId="305"/>
            <ac:spMk id="3" creationId="{9F9E59A6-5B4D-8AD2-A7CF-D2E2AFF6E183}"/>
          </ac:spMkLst>
        </pc:spChg>
      </pc:sldChg>
      <pc:sldChg chg="modSp new mod modAnim">
        <pc:chgData name="Thomas Stensitzki" userId="75cafe6b-2f2a-469b-85c4-eec3b9c972ba" providerId="ADAL" clId="{E7CFEF31-F78D-4AB2-82EA-48FEA1DAF329}" dt="2022-08-18T07:09:57.071" v="6876"/>
        <pc:sldMkLst>
          <pc:docMk/>
          <pc:sldMk cId="876685722" sldId="306"/>
        </pc:sldMkLst>
        <pc:spChg chg="mod">
          <ac:chgData name="Thomas Stensitzki" userId="75cafe6b-2f2a-469b-85c4-eec3b9c972ba" providerId="ADAL" clId="{E7CFEF31-F78D-4AB2-82EA-48FEA1DAF329}" dt="2022-08-13T12:33:56.748" v="449" actId="20577"/>
          <ac:spMkLst>
            <pc:docMk/>
            <pc:sldMk cId="876685722" sldId="306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2:52:31.714" v="1358" actId="20577"/>
          <ac:spMkLst>
            <pc:docMk/>
            <pc:sldMk cId="876685722" sldId="306"/>
            <ac:spMk id="3" creationId="{DF98DDA7-75B3-3FB8-684B-022375BDEECA}"/>
          </ac:spMkLst>
        </pc:spChg>
      </pc:sldChg>
      <pc:sldChg chg="addSp modSp add mod modAnim">
        <pc:chgData name="Thomas Stensitzki" userId="75cafe6b-2f2a-469b-85c4-eec3b9c972ba" providerId="ADAL" clId="{E7CFEF31-F78D-4AB2-82EA-48FEA1DAF329}" dt="2022-08-18T16:19:26.812" v="7108" actId="1038"/>
        <pc:sldMkLst>
          <pc:docMk/>
          <pc:sldMk cId="4249625451" sldId="307"/>
        </pc:sldMkLst>
        <pc:spChg chg="mod">
          <ac:chgData name="Thomas Stensitzki" userId="75cafe6b-2f2a-469b-85c4-eec3b9c972ba" providerId="ADAL" clId="{E7CFEF31-F78D-4AB2-82EA-48FEA1DAF329}" dt="2022-08-13T12:46:02.278" v="1165" actId="20577"/>
          <ac:spMkLst>
            <pc:docMk/>
            <pc:sldMk cId="4249625451" sldId="307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8T16:19:20.890" v="7070" actId="20577"/>
          <ac:spMkLst>
            <pc:docMk/>
            <pc:sldMk cId="4249625451" sldId="307"/>
            <ac:spMk id="3" creationId="{DF98DDA7-75B3-3FB8-684B-022375BDEECA}"/>
          </ac:spMkLst>
        </pc:spChg>
        <pc:spChg chg="add mod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5" creationId="{811A6F96-260A-208C-7424-2C4F07617F69}"/>
          </ac:spMkLst>
        </pc:spChg>
        <pc:spChg chg="add mod modVis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6" creationId="{746F480D-DB43-89F7-30AB-E6FE26106E05}"/>
          </ac:spMkLst>
        </pc:spChg>
        <pc:spChg chg="add mod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7" creationId="{DD06D63A-611B-4CE4-6CEA-40528643BCAC}"/>
          </ac:spMkLst>
        </pc:spChg>
        <pc:grpChg chg="add mod replST">
          <ac:chgData name="Thomas Stensitzki" userId="75cafe6b-2f2a-469b-85c4-eec3b9c972ba" providerId="ADAL" clId="{E7CFEF31-F78D-4AB2-82EA-48FEA1DAF329}" dt="2022-08-18T16:19:26.812" v="7108" actId="1038"/>
          <ac:grpSpMkLst>
            <pc:docMk/>
            <pc:sldMk cId="4249625451" sldId="307"/>
            <ac:grpSpMk id="8" creationId="{03F00321-B26B-1692-029D-C7F4D36BD900}"/>
          </ac:grpSpMkLst>
        </pc:grpChg>
      </pc:sldChg>
      <pc:sldChg chg="modSp add mod modAnim">
        <pc:chgData name="Thomas Stensitzki" userId="75cafe6b-2f2a-469b-85c4-eec3b9c972ba" providerId="ADAL" clId="{E7CFEF31-F78D-4AB2-82EA-48FEA1DAF329}" dt="2022-08-18T07:11:02.163" v="6880"/>
        <pc:sldMkLst>
          <pc:docMk/>
          <pc:sldMk cId="3803198966" sldId="308"/>
        </pc:sldMkLst>
        <pc:spChg chg="mod">
          <ac:chgData name="Thomas Stensitzki" userId="75cafe6b-2f2a-469b-85c4-eec3b9c972ba" providerId="ADAL" clId="{E7CFEF31-F78D-4AB2-82EA-48FEA1DAF329}" dt="2022-08-13T12:46:11.055" v="1177" actId="20577"/>
          <ac:spMkLst>
            <pc:docMk/>
            <pc:sldMk cId="3803198966" sldId="308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3:36:45.920" v="2284" actId="113"/>
          <ac:spMkLst>
            <pc:docMk/>
            <pc:sldMk cId="3803198966" sldId="308"/>
            <ac:spMk id="3" creationId="{DF98DDA7-75B3-3FB8-684B-022375BDEECA}"/>
          </ac:spMkLst>
        </pc:spChg>
        <pc:spChg chg="mod">
          <ac:chgData name="Thomas Stensitzki" userId="75cafe6b-2f2a-469b-85c4-eec3b9c972ba" providerId="ADAL" clId="{E7CFEF31-F78D-4AB2-82EA-48FEA1DAF329}" dt="2022-08-13T12:47:00.907" v="1234" actId="20577"/>
          <ac:spMkLst>
            <pc:docMk/>
            <pc:sldMk cId="3803198966" sldId="308"/>
            <ac:spMk id="4" creationId="{FC259EB8-2A34-CE5F-72C3-3B0298E90FF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1:18.059" v="6882"/>
        <pc:sldMkLst>
          <pc:docMk/>
          <pc:sldMk cId="2684566918" sldId="309"/>
        </pc:sldMkLst>
        <pc:spChg chg="mod">
          <ac:chgData name="Thomas Stensitzki" userId="75cafe6b-2f2a-469b-85c4-eec3b9c972ba" providerId="ADAL" clId="{E7CFEF31-F78D-4AB2-82EA-48FEA1DAF329}" dt="2022-08-13T13:36:59.933" v="2285" actId="113"/>
          <ac:spMkLst>
            <pc:docMk/>
            <pc:sldMk cId="2684566918" sldId="309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11-04T10:44:04.918" v="7113" actId="20577"/>
        <pc:sldMkLst>
          <pc:docMk/>
          <pc:sldMk cId="897376150" sldId="310"/>
        </pc:sldMkLst>
        <pc:spChg chg="mod">
          <ac:chgData name="Thomas Stensitzki" userId="75cafe6b-2f2a-469b-85c4-eec3b9c972ba" providerId="ADAL" clId="{E7CFEF31-F78D-4AB2-82EA-48FEA1DAF329}" dt="2022-08-13T13:35:51.449" v="2238" actId="20577"/>
          <ac:spMkLst>
            <pc:docMk/>
            <pc:sldMk cId="897376150" sldId="310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11-04T10:44:04.918" v="7113" actId="20577"/>
          <ac:spMkLst>
            <pc:docMk/>
            <pc:sldMk cId="897376150" sldId="310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16:27:02.031" v="7109" actId="20577"/>
        <pc:sldMkLst>
          <pc:docMk/>
          <pc:sldMk cId="2857984056" sldId="311"/>
        </pc:sldMkLst>
        <pc:spChg chg="mod">
          <ac:chgData name="Thomas Stensitzki" userId="75cafe6b-2f2a-469b-85c4-eec3b9c972ba" providerId="ADAL" clId="{E7CFEF31-F78D-4AB2-82EA-48FEA1DAF329}" dt="2022-08-18T16:27:02.031" v="7109" actId="20577"/>
          <ac:spMkLst>
            <pc:docMk/>
            <pc:sldMk cId="2857984056" sldId="311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3:55.901" v="6888"/>
        <pc:sldMkLst>
          <pc:docMk/>
          <pc:sldMk cId="3237385589" sldId="312"/>
        </pc:sldMkLst>
        <pc:spChg chg="mod">
          <ac:chgData name="Thomas Stensitzki" userId="75cafe6b-2f2a-469b-85c4-eec3b9c972ba" providerId="ADAL" clId="{E7CFEF31-F78D-4AB2-82EA-48FEA1DAF329}" dt="2022-08-13T14:09:21.827" v="3270" actId="20577"/>
          <ac:spMkLst>
            <pc:docMk/>
            <pc:sldMk cId="3237385589" sldId="312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4:32:29.619" v="3595" actId="20577"/>
          <ac:spMkLst>
            <pc:docMk/>
            <pc:sldMk cId="3237385589" sldId="312"/>
            <ac:spMk id="3" creationId="{DF98DDA7-75B3-3FB8-684B-022375BDEECA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4:11.325" v="6890"/>
        <pc:sldMkLst>
          <pc:docMk/>
          <pc:sldMk cId="3486645026" sldId="313"/>
        </pc:sldMkLst>
        <pc:spChg chg="mod">
          <ac:chgData name="Thomas Stensitzki" userId="75cafe6b-2f2a-469b-85c4-eec3b9c972ba" providerId="ADAL" clId="{E7CFEF31-F78D-4AB2-82EA-48FEA1DAF329}" dt="2022-08-13T14:58:56.660" v="4303" actId="113"/>
          <ac:spMkLst>
            <pc:docMk/>
            <pc:sldMk cId="3486645026" sldId="313"/>
            <ac:spMk id="3" creationId="{DF98DDA7-75B3-3FB8-684B-022375BDEECA}"/>
          </ac:spMkLst>
        </pc:spChg>
        <pc:spChg chg="mod">
          <ac:chgData name="Thomas Stensitzki" userId="75cafe6b-2f2a-469b-85c4-eec3b9c972ba" providerId="ADAL" clId="{E7CFEF31-F78D-4AB2-82EA-48FEA1DAF329}" dt="2022-08-13T14:38:35.395" v="3604" actId="20577"/>
          <ac:spMkLst>
            <pc:docMk/>
            <pc:sldMk cId="3486645026" sldId="313"/>
            <ac:spMk id="4" creationId="{FC259EB8-2A34-CE5F-72C3-3B0298E90FF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4:21.451" v="6892"/>
        <pc:sldMkLst>
          <pc:docMk/>
          <pc:sldMk cId="4142284166" sldId="314"/>
        </pc:sldMkLst>
        <pc:spChg chg="mod">
          <ac:chgData name="Thomas Stensitzki" userId="75cafe6b-2f2a-469b-85c4-eec3b9c972ba" providerId="ADAL" clId="{E7CFEF31-F78D-4AB2-82EA-48FEA1DAF329}" dt="2022-08-13T14:56:35.909" v="4237" actId="20577"/>
          <ac:spMkLst>
            <pc:docMk/>
            <pc:sldMk cId="4142284166" sldId="314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5:00:06.138" v="4312" actId="113"/>
          <ac:spMkLst>
            <pc:docMk/>
            <pc:sldMk cId="4142284166" sldId="314"/>
            <ac:spMk id="3" creationId="{DF98DDA7-75B3-3FB8-684B-022375BDEECA}"/>
          </ac:spMkLst>
        </pc:spChg>
      </pc:sldChg>
      <pc:sldChg chg="modSp add mod">
        <pc:chgData name="Thomas Stensitzki" userId="75cafe6b-2f2a-469b-85c4-eec3b9c972ba" providerId="ADAL" clId="{E7CFEF31-F78D-4AB2-82EA-48FEA1DAF329}" dt="2022-08-13T14:57:52.898" v="4289" actId="6549"/>
        <pc:sldMkLst>
          <pc:docMk/>
          <pc:sldMk cId="1572236239" sldId="315"/>
        </pc:sldMkLst>
        <pc:spChg chg="mod">
          <ac:chgData name="Thomas Stensitzki" userId="75cafe6b-2f2a-469b-85c4-eec3b9c972ba" providerId="ADAL" clId="{E7CFEF31-F78D-4AB2-82EA-48FEA1DAF329}" dt="2022-08-13T14:57:52.898" v="4289" actId="6549"/>
          <ac:spMkLst>
            <pc:docMk/>
            <pc:sldMk cId="1572236239" sldId="315"/>
            <ac:spMk id="2" creationId="{12B048C9-F44C-C380-8C1A-E36BAEE20DD6}"/>
          </ac:spMkLst>
        </pc:spChg>
        <pc:spChg chg="mod">
          <ac:chgData name="Thomas Stensitzki" userId="75cafe6b-2f2a-469b-85c4-eec3b9c972ba" providerId="ADAL" clId="{E7CFEF31-F78D-4AB2-82EA-48FEA1DAF329}" dt="2022-08-13T14:57:10.124" v="4248" actId="6549"/>
          <ac:spMkLst>
            <pc:docMk/>
            <pc:sldMk cId="1572236239" sldId="315"/>
            <ac:spMk id="5" creationId="{EF33DA07-BDE5-4D8B-B332-D6D77536E093}"/>
          </ac:spMkLst>
        </pc:spChg>
      </pc:sldChg>
      <pc:sldChg chg="modSp new mod modAnim">
        <pc:chgData name="Thomas Stensitzki" userId="75cafe6b-2f2a-469b-85c4-eec3b9c972ba" providerId="ADAL" clId="{E7CFEF31-F78D-4AB2-82EA-48FEA1DAF329}" dt="2022-08-18T07:14:46.859" v="6896"/>
        <pc:sldMkLst>
          <pc:docMk/>
          <pc:sldMk cId="3945570708" sldId="316"/>
        </pc:sldMkLst>
        <pc:spChg chg="mod">
          <ac:chgData name="Thomas Stensitzki" userId="75cafe6b-2f2a-469b-85c4-eec3b9c972ba" providerId="ADAL" clId="{E7CFEF31-F78D-4AB2-82EA-48FEA1DAF329}" dt="2022-08-13T15:01:35.870" v="4357" actId="20577"/>
          <ac:spMkLst>
            <pc:docMk/>
            <pc:sldMk cId="3945570708" sldId="316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23:07.721" v="5038" actId="20577"/>
          <ac:spMkLst>
            <pc:docMk/>
            <pc:sldMk cId="3945570708" sldId="316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38.072" v="5097" actId="6549"/>
          <ac:spMkLst>
            <pc:docMk/>
            <pc:sldMk cId="3945570708" sldId="316"/>
            <ac:spMk id="4" creationId="{82785C45-0302-6BE1-7468-86FA5C6E3D7C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6:12.354" v="6905"/>
        <pc:sldMkLst>
          <pc:docMk/>
          <pc:sldMk cId="3636321901" sldId="317"/>
        </pc:sldMkLst>
        <pc:spChg chg="mod">
          <ac:chgData name="Thomas Stensitzki" userId="75cafe6b-2f2a-469b-85c4-eec3b9c972ba" providerId="ADAL" clId="{E7CFEF31-F78D-4AB2-82EA-48FEA1DAF329}" dt="2022-08-14T11:42:41.580" v="5483" actId="6549"/>
          <ac:spMkLst>
            <pc:docMk/>
            <pc:sldMk cId="3636321901" sldId="317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45.813" v="5106" actId="6549"/>
          <ac:spMkLst>
            <pc:docMk/>
            <pc:sldMk cId="3636321901" sldId="317"/>
            <ac:spMk id="4" creationId="{82785C45-0302-6BE1-7468-86FA5C6E3D7C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4:36.302" v="6894"/>
        <pc:sldMkLst>
          <pc:docMk/>
          <pc:sldMk cId="1204233614" sldId="318"/>
        </pc:sldMkLst>
        <pc:spChg chg="mod">
          <ac:chgData name="Thomas Stensitzki" userId="75cafe6b-2f2a-469b-85c4-eec3b9c972ba" providerId="ADAL" clId="{E7CFEF31-F78D-4AB2-82EA-48FEA1DAF329}" dt="2022-08-14T11:29:14.223" v="5302" actId="20577"/>
          <ac:spMkLst>
            <pc:docMk/>
            <pc:sldMk cId="1204233614" sldId="318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32.404" v="5088" actId="6549"/>
          <ac:spMkLst>
            <pc:docMk/>
            <pc:sldMk cId="1204233614" sldId="318"/>
            <ac:spMk id="4" creationId="{82785C45-0302-6BE1-7468-86FA5C6E3D7C}"/>
          </ac:spMkLst>
        </pc:spChg>
      </pc:sldChg>
      <pc:sldChg chg="modSp add del mod">
        <pc:chgData name="Thomas Stensitzki" userId="75cafe6b-2f2a-469b-85c4-eec3b9c972ba" providerId="ADAL" clId="{E7CFEF31-F78D-4AB2-82EA-48FEA1DAF329}" dt="2022-08-18T07:16:48.276" v="6909" actId="47"/>
        <pc:sldMkLst>
          <pc:docMk/>
          <pc:sldMk cId="2841415955" sldId="319"/>
        </pc:sldMkLst>
        <pc:spChg chg="mod">
          <ac:chgData name="Thomas Stensitzki" userId="75cafe6b-2f2a-469b-85c4-eec3b9c972ba" providerId="ADAL" clId="{E7CFEF31-F78D-4AB2-82EA-48FEA1DAF329}" dt="2022-08-14T11:33:10.131" v="5334" actId="20577"/>
          <ac:spMkLst>
            <pc:docMk/>
            <pc:sldMk cId="2841415955" sldId="319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32:37.489" v="5309" actId="6549"/>
          <ac:spMkLst>
            <pc:docMk/>
            <pc:sldMk cId="2841415955" sldId="319"/>
            <ac:spMk id="4" creationId="{82785C45-0302-6BE1-7468-86FA5C6E3D7C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6:23.169" v="6906"/>
        <pc:sldMkLst>
          <pc:docMk/>
          <pc:sldMk cId="273821020" sldId="320"/>
        </pc:sldMkLst>
        <pc:spChg chg="mod">
          <ac:chgData name="Thomas Stensitzki" userId="75cafe6b-2f2a-469b-85c4-eec3b9c972ba" providerId="ADAL" clId="{E7CFEF31-F78D-4AB2-82EA-48FEA1DAF329}" dt="2022-08-14T11:34:00.610" v="5346" actId="20577"/>
          <ac:spMkLst>
            <pc:docMk/>
            <pc:sldMk cId="273821020" sldId="320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42:32.354" v="5471" actId="6549"/>
          <ac:spMkLst>
            <pc:docMk/>
            <pc:sldMk cId="273821020" sldId="320"/>
            <ac:spMk id="3" creationId="{49E3BE99-6E10-2A5A-CC20-F9A73F5D3592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6:36.265" v="6908"/>
        <pc:sldMkLst>
          <pc:docMk/>
          <pc:sldMk cId="3594537515" sldId="321"/>
        </pc:sldMkLst>
        <pc:spChg chg="mod">
          <ac:chgData name="Thomas Stensitzki" userId="75cafe6b-2f2a-469b-85c4-eec3b9c972ba" providerId="ADAL" clId="{E7CFEF31-F78D-4AB2-82EA-48FEA1DAF329}" dt="2022-08-14T11:43:40.785" v="5498" actId="20577"/>
          <ac:spMkLst>
            <pc:docMk/>
            <pc:sldMk cId="3594537515" sldId="321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49:02.550" v="5917" actId="113"/>
          <ac:spMkLst>
            <pc:docMk/>
            <pc:sldMk cId="3594537515" sldId="321"/>
            <ac:spMk id="3" creationId="{49E3BE99-6E10-2A5A-CC20-F9A73F5D3592}"/>
          </ac:spMkLst>
        </pc:spChg>
      </pc:sldChg>
      <pc:sldChg chg="addSp modSp new mod">
        <pc:chgData name="Thomas Stensitzki" userId="75cafe6b-2f2a-469b-85c4-eec3b9c972ba" providerId="ADAL" clId="{E7CFEF31-F78D-4AB2-82EA-48FEA1DAF329}" dt="2022-08-14T11:52:56.877" v="6022" actId="1440"/>
        <pc:sldMkLst>
          <pc:docMk/>
          <pc:sldMk cId="2449884509" sldId="322"/>
        </pc:sldMkLst>
        <pc:spChg chg="mod">
          <ac:chgData name="Thomas Stensitzki" userId="75cafe6b-2f2a-469b-85c4-eec3b9c972ba" providerId="ADAL" clId="{E7CFEF31-F78D-4AB2-82EA-48FEA1DAF329}" dt="2022-08-14T11:49:46.305" v="5953" actId="20577"/>
          <ac:spMkLst>
            <pc:docMk/>
            <pc:sldMk cId="2449884509" sldId="322"/>
            <ac:spMk id="2" creationId="{1BA9802E-6FC2-E999-C70D-058BA9E5B649}"/>
          </ac:spMkLst>
        </pc:spChg>
        <pc:spChg chg="mod">
          <ac:chgData name="Thomas Stensitzki" userId="75cafe6b-2f2a-469b-85c4-eec3b9c972ba" providerId="ADAL" clId="{E7CFEF31-F78D-4AB2-82EA-48FEA1DAF329}" dt="2022-08-14T11:51:01.219" v="6019" actId="14100"/>
          <ac:spMkLst>
            <pc:docMk/>
            <pc:sldMk cId="2449884509" sldId="322"/>
            <ac:spMk id="3" creationId="{C2FABDA2-4CCD-9A0F-2F17-FD5CC8C2BE52}"/>
          </ac:spMkLst>
        </pc:spChg>
        <pc:spChg chg="mod">
          <ac:chgData name="Thomas Stensitzki" userId="75cafe6b-2f2a-469b-85c4-eec3b9c972ba" providerId="ADAL" clId="{E7CFEF31-F78D-4AB2-82EA-48FEA1DAF329}" dt="2022-08-14T11:49:52.143" v="5964" actId="20577"/>
          <ac:spMkLst>
            <pc:docMk/>
            <pc:sldMk cId="2449884509" sldId="322"/>
            <ac:spMk id="4" creationId="{FCBF9BD0-D8B4-19AD-04F2-322CD6B14C48}"/>
          </ac:spMkLst>
        </pc:spChg>
        <pc:picChg chg="add mod">
          <ac:chgData name="Thomas Stensitzki" userId="75cafe6b-2f2a-469b-85c4-eec3b9c972ba" providerId="ADAL" clId="{E7CFEF31-F78D-4AB2-82EA-48FEA1DAF329}" dt="2022-08-14T11:52:56.877" v="6022" actId="1440"/>
          <ac:picMkLst>
            <pc:docMk/>
            <pc:sldMk cId="2449884509" sldId="322"/>
            <ac:picMk id="1026" creationId="{540423D6-3BED-2BEE-F861-4DAD16C8351B}"/>
          </ac:picMkLst>
        </pc:picChg>
      </pc:sldChg>
      <pc:sldChg chg="delSp modSp add mod modAnim">
        <pc:chgData name="Thomas Stensitzki" userId="75cafe6b-2f2a-469b-85c4-eec3b9c972ba" providerId="ADAL" clId="{E7CFEF31-F78D-4AB2-82EA-48FEA1DAF329}" dt="2022-08-18T07:20:12.684" v="6940"/>
        <pc:sldMkLst>
          <pc:docMk/>
          <pc:sldMk cId="97824799" sldId="323"/>
        </pc:sldMkLst>
        <pc:spChg chg="mod">
          <ac:chgData name="Thomas Stensitzki" userId="75cafe6b-2f2a-469b-85c4-eec3b9c972ba" providerId="ADAL" clId="{E7CFEF31-F78D-4AB2-82EA-48FEA1DAF329}" dt="2022-08-14T12:07:56.921" v="6871" actId="113"/>
          <ac:spMkLst>
            <pc:docMk/>
            <pc:sldMk cId="97824799" sldId="323"/>
            <ac:spMk id="3" creationId="{C2FABDA2-4CCD-9A0F-2F17-FD5CC8C2BE52}"/>
          </ac:spMkLst>
        </pc:spChg>
        <pc:picChg chg="del">
          <ac:chgData name="Thomas Stensitzki" userId="75cafe6b-2f2a-469b-85c4-eec3b9c972ba" providerId="ADAL" clId="{E7CFEF31-F78D-4AB2-82EA-48FEA1DAF329}" dt="2022-08-14T11:53:31.251" v="6026" actId="478"/>
          <ac:picMkLst>
            <pc:docMk/>
            <pc:sldMk cId="97824799" sldId="323"/>
            <ac:picMk id="1026" creationId="{540423D6-3BED-2BEE-F861-4DAD16C8351B}"/>
          </ac:picMkLst>
        </pc:picChg>
      </pc:sldChg>
      <pc:sldChg chg="new del">
        <pc:chgData name="Thomas Stensitzki" userId="75cafe6b-2f2a-469b-85c4-eec3b9c972ba" providerId="ADAL" clId="{E7CFEF31-F78D-4AB2-82EA-48FEA1DAF329}" dt="2022-08-14T11:53:25.887" v="6024" actId="680"/>
        <pc:sldMkLst>
          <pc:docMk/>
          <pc:sldMk cId="2361540319" sldId="323"/>
        </pc:sldMkLst>
      </pc:sldChg>
      <pc:sldChg chg="modSp new mod">
        <pc:chgData name="Thomas Stensitzki" userId="75cafe6b-2f2a-469b-85c4-eec3b9c972ba" providerId="ADAL" clId="{E7CFEF31-F78D-4AB2-82EA-48FEA1DAF329}" dt="2022-08-14T12:06:01.669" v="6759" actId="20577"/>
        <pc:sldMkLst>
          <pc:docMk/>
          <pc:sldMk cId="2658790144" sldId="324"/>
        </pc:sldMkLst>
        <pc:spChg chg="mod">
          <ac:chgData name="Thomas Stensitzki" userId="75cafe6b-2f2a-469b-85c4-eec3b9c972ba" providerId="ADAL" clId="{E7CFEF31-F78D-4AB2-82EA-48FEA1DAF329}" dt="2022-08-14T11:54:57.989" v="6126" actId="20577"/>
          <ac:spMkLst>
            <pc:docMk/>
            <pc:sldMk cId="2658790144" sldId="324"/>
            <ac:spMk id="2" creationId="{B082680C-8B9F-AF25-5540-A5A1842E27F5}"/>
          </ac:spMkLst>
        </pc:spChg>
        <pc:spChg chg="mod">
          <ac:chgData name="Thomas Stensitzki" userId="75cafe6b-2f2a-469b-85c4-eec3b9c972ba" providerId="ADAL" clId="{E7CFEF31-F78D-4AB2-82EA-48FEA1DAF329}" dt="2022-08-14T12:06:01.669" v="6759" actId="20577"/>
          <ac:spMkLst>
            <pc:docMk/>
            <pc:sldMk cId="2658790144" sldId="324"/>
            <ac:spMk id="3" creationId="{D7F152D5-D670-257F-0D75-E161D94B4D8F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20:23.387" v="6942"/>
        <pc:sldMkLst>
          <pc:docMk/>
          <pc:sldMk cId="3576904232" sldId="325"/>
        </pc:sldMkLst>
        <pc:spChg chg="mod">
          <ac:chgData name="Thomas Stensitzki" userId="75cafe6b-2f2a-469b-85c4-eec3b9c972ba" providerId="ADAL" clId="{E7CFEF31-F78D-4AB2-82EA-48FEA1DAF329}" dt="2022-08-14T12:07:36.374" v="6868" actId="20577"/>
          <ac:spMkLst>
            <pc:docMk/>
            <pc:sldMk cId="3576904232" sldId="325"/>
            <ac:spMk id="3" creationId="{C2FABDA2-4CCD-9A0F-2F17-FD5CC8C2BE52}"/>
          </ac:spMkLst>
        </pc:spChg>
      </pc:sldChg>
      <pc:sldChg chg="addSp delSp modSp new mod modClrScheme chgLayout">
        <pc:chgData name="Thomas Stensitzki" userId="75cafe6b-2f2a-469b-85c4-eec3b9c972ba" providerId="ADAL" clId="{E7CFEF31-F78D-4AB2-82EA-48FEA1DAF329}" dt="2022-08-18T07:18:51.314" v="6915"/>
        <pc:sldMkLst>
          <pc:docMk/>
          <pc:sldMk cId="3611383028" sldId="326"/>
        </pc:sldMkLst>
        <pc:spChg chg="del mod ord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2" creationId="{EDA715E4-F327-4783-2466-AE082F4A2E05}"/>
          </ac:spMkLst>
        </pc:spChg>
        <pc:spChg chg="del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3" creationId="{44E2EAB8-F390-3493-8C0A-E00AA19636CC}"/>
          </ac:spMkLst>
        </pc:spChg>
        <pc:spChg chg="del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4" creationId="{5BD4CA7A-385A-807C-43ED-3082BC888B79}"/>
          </ac:spMkLst>
        </pc:spChg>
        <pc:spChg chg="add del mod ord">
          <ac:chgData name="Thomas Stensitzki" userId="75cafe6b-2f2a-469b-85c4-eec3b9c972ba" providerId="ADAL" clId="{E7CFEF31-F78D-4AB2-82EA-48FEA1DAF329}" dt="2022-08-18T07:17:33.495" v="6912" actId="700"/>
          <ac:spMkLst>
            <pc:docMk/>
            <pc:sldMk cId="3611383028" sldId="326"/>
            <ac:spMk id="5" creationId="{7D03E707-9CE7-84EC-B706-2FF7276C922F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6" creationId="{1C5D8CCD-75CC-DED8-AB7D-EFEF57F3A5B4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7" creationId="{93C84544-8028-A833-5009-30E347072982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8" creationId="{855973B3-DDD7-13B6-620F-5D690199CF6C}"/>
          </ac:spMkLst>
        </pc:spChg>
        <pc:spChg chg="add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9" creationId="{23B24C39-7937-90BB-66C2-90D50BD3A6B8}"/>
          </ac:spMkLst>
        </pc:spChg>
        <pc:picChg chg="add mod">
          <ac:chgData name="Thomas Stensitzki" userId="75cafe6b-2f2a-469b-85c4-eec3b9c972ba" providerId="ADAL" clId="{E7CFEF31-F78D-4AB2-82EA-48FEA1DAF329}" dt="2022-08-18T07:18:51.314" v="6915"/>
          <ac:picMkLst>
            <pc:docMk/>
            <pc:sldMk cId="3611383028" sldId="326"/>
            <ac:picMk id="10" creationId="{436D1129-2AE2-6ED0-635C-0315F7E754E9}"/>
          </ac:picMkLst>
        </pc:picChg>
      </pc:sldChg>
      <pc:sldChg chg="add ord">
        <pc:chgData name="Thomas Stensitzki" userId="75cafe6b-2f2a-469b-85c4-eec3b9c972ba" providerId="ADAL" clId="{E7CFEF31-F78D-4AB2-82EA-48FEA1DAF329}" dt="2022-08-18T07:19:50.888" v="6938"/>
        <pc:sldMkLst>
          <pc:docMk/>
          <pc:sldMk cId="3415401340" sldId="327"/>
        </pc:sldMkLst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AAD96DC6-27DA-4212-8382-67920AB94B8D}"/>
    <pc:docChg chg="undo custSel addSld delSld modSld sldOrd modSection">
      <pc:chgData name="Thomas Stensitzki" userId="75cafe6b-2f2a-469b-85c4-eec3b9c972ba" providerId="ADAL" clId="{AAD96DC6-27DA-4212-8382-67920AB94B8D}" dt="2021-08-19T17:12:53.191" v="1124" actId="6549"/>
      <pc:docMkLst>
        <pc:docMk/>
      </pc:docMkLst>
      <pc:sldChg chg="add ord">
        <pc:chgData name="Thomas Stensitzki" userId="75cafe6b-2f2a-469b-85c4-eec3b9c972ba" providerId="ADAL" clId="{AAD96DC6-27DA-4212-8382-67920AB94B8D}" dt="2021-08-19T15:12:01.716" v="1072"/>
        <pc:sldMkLst>
          <pc:docMk/>
          <pc:sldMk cId="3986585176" sldId="258"/>
        </pc:sldMkLst>
      </pc:sldChg>
      <pc:sldChg chg="modSp">
        <pc:chgData name="Thomas Stensitzki" userId="75cafe6b-2f2a-469b-85c4-eec3b9c972ba" providerId="ADAL" clId="{AAD96DC6-27DA-4212-8382-67920AB94B8D}" dt="2021-08-19T17:12:53.191" v="1124" actId="6549"/>
        <pc:sldMkLst>
          <pc:docMk/>
          <pc:sldMk cId="2726485231" sldId="284"/>
        </pc:sldMkLst>
        <pc:spChg chg="mod">
          <ac:chgData name="Thomas Stensitzki" userId="75cafe6b-2f2a-469b-85c4-eec3b9c972ba" providerId="ADAL" clId="{AAD96DC6-27DA-4212-8382-67920AB94B8D}" dt="2021-08-19T17:12:53.191" v="1124" actId="6549"/>
          <ac:spMkLst>
            <pc:docMk/>
            <pc:sldMk cId="2726485231" sldId="284"/>
            <ac:spMk id="3" creationId="{852D7D7E-BA81-48A9-8091-7743702661A8}"/>
          </ac:spMkLst>
        </pc:spChg>
      </pc:sldChg>
      <pc:sldChg chg="addSp modSp mod">
        <pc:chgData name="Thomas Stensitzki" userId="75cafe6b-2f2a-469b-85c4-eec3b9c972ba" providerId="ADAL" clId="{AAD96DC6-27DA-4212-8382-67920AB94B8D}" dt="2021-08-19T15:26:59.721" v="1107" actId="207"/>
        <pc:sldMkLst>
          <pc:docMk/>
          <pc:sldMk cId="848503523" sldId="286"/>
        </pc:sldMkLst>
        <pc:spChg chg="mod">
          <ac:chgData name="Thomas Stensitzki" userId="75cafe6b-2f2a-469b-85c4-eec3b9c972ba" providerId="ADAL" clId="{AAD96DC6-27DA-4212-8382-67920AB94B8D}" dt="2021-08-19T15:10:27.643" v="1068"/>
          <ac:spMkLst>
            <pc:docMk/>
            <pc:sldMk cId="848503523" sldId="286"/>
            <ac:spMk id="3" creationId="{5A9BE1F8-07C8-4A22-93C8-5725DE760CD3}"/>
          </ac:spMkLst>
        </pc:spChg>
        <pc:spChg chg="add mod">
          <ac:chgData name="Thomas Stensitzki" userId="75cafe6b-2f2a-469b-85c4-eec3b9c972ba" providerId="ADAL" clId="{AAD96DC6-27DA-4212-8382-67920AB94B8D}" dt="2021-08-19T15:26:41.442" v="1106" actId="6549"/>
          <ac:spMkLst>
            <pc:docMk/>
            <pc:sldMk cId="848503523" sldId="286"/>
            <ac:spMk id="5" creationId="{3060FA8B-3FE8-41AF-887D-70CB325A73FF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7" creationId="{EA8C525A-4365-4D83-86B5-F73673846B06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8" creationId="{BD7DEAB1-8369-4B70-A9AB-BCCA3B861094}"/>
          </ac:spMkLst>
        </pc:spChg>
        <pc:grpChg chg="add mod">
          <ac:chgData name="Thomas Stensitzki" userId="75cafe6b-2f2a-469b-85c4-eec3b9c972ba" providerId="ADAL" clId="{AAD96DC6-27DA-4212-8382-67920AB94B8D}" dt="2021-08-19T15:26:59.721" v="1107" actId="207"/>
          <ac:grpSpMkLst>
            <pc:docMk/>
            <pc:sldMk cId="848503523" sldId="286"/>
            <ac:grpSpMk id="6" creationId="{D887B6D5-E084-4C12-9799-A7C0F958FEEC}"/>
          </ac:grpSpMkLst>
        </pc:grpChg>
      </pc:sldChg>
      <pc:sldChg chg="modSp modAnim">
        <pc:chgData name="Thomas Stensitzki" userId="75cafe6b-2f2a-469b-85c4-eec3b9c972ba" providerId="ADAL" clId="{AAD96DC6-27DA-4212-8382-67920AB94B8D}" dt="2021-08-19T17:12:22.698" v="1111" actId="6549"/>
        <pc:sldMkLst>
          <pc:docMk/>
          <pc:sldMk cId="1729807556" sldId="289"/>
        </pc:sldMkLst>
        <pc:spChg chg="mod">
          <ac:chgData name="Thomas Stensitzki" userId="75cafe6b-2f2a-469b-85c4-eec3b9c972ba" providerId="ADAL" clId="{AAD96DC6-27DA-4212-8382-67920AB94B8D}" dt="2021-08-19T17:12:22.698" v="1111" actId="6549"/>
          <ac:spMkLst>
            <pc:docMk/>
            <pc:sldMk cId="1729807556" sldId="289"/>
            <ac:spMk id="3" creationId="{4AAB9D3C-DC48-4B19-B25D-3FCAA5D18CAC}"/>
          </ac:spMkLst>
        </pc:spChg>
      </pc:sldChg>
      <pc:sldChg chg="modAnim">
        <pc:chgData name="Thomas Stensitzki" userId="75cafe6b-2f2a-469b-85c4-eec3b9c972ba" providerId="ADAL" clId="{AAD96DC6-27DA-4212-8382-67920AB94B8D}" dt="2021-08-17T06:47:18.821" v="506"/>
        <pc:sldMkLst>
          <pc:docMk/>
          <pc:sldMk cId="1538979864" sldId="290"/>
        </pc:sldMkLst>
      </pc:sldChg>
      <pc:sldChg chg="modAnim">
        <pc:chgData name="Thomas Stensitzki" userId="75cafe6b-2f2a-469b-85c4-eec3b9c972ba" providerId="ADAL" clId="{AAD96DC6-27DA-4212-8382-67920AB94B8D}" dt="2021-08-17T06:47:39.638" v="508"/>
        <pc:sldMkLst>
          <pc:docMk/>
          <pc:sldMk cId="625306503" sldId="291"/>
        </pc:sldMkLst>
      </pc:sldChg>
      <pc:sldChg chg="modAnim">
        <pc:chgData name="Thomas Stensitzki" userId="75cafe6b-2f2a-469b-85c4-eec3b9c972ba" providerId="ADAL" clId="{AAD96DC6-27DA-4212-8382-67920AB94B8D}" dt="2021-08-17T07:55:04.779" v="527"/>
        <pc:sldMkLst>
          <pc:docMk/>
          <pc:sldMk cId="761415241" sldId="292"/>
        </pc:sldMkLst>
      </pc:sldChg>
      <pc:sldChg chg="modAnim">
        <pc:chgData name="Thomas Stensitzki" userId="75cafe6b-2f2a-469b-85c4-eec3b9c972ba" providerId="ADAL" clId="{AAD96DC6-27DA-4212-8382-67920AB94B8D}" dt="2021-08-17T06:56:16.717" v="518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AAD96DC6-27DA-4212-8382-67920AB94B8D}" dt="2021-08-17T08:17:21.348" v="986"/>
        <pc:sldMkLst>
          <pc:docMk/>
          <pc:sldMk cId="1527107871" sldId="294"/>
        </pc:sldMkLst>
        <pc:spChg chg="mod">
          <ac:chgData name="Thomas Stensitzki" userId="75cafe6b-2f2a-469b-85c4-eec3b9c972ba" providerId="ADAL" clId="{AAD96DC6-27DA-4212-8382-67920AB94B8D}" dt="2021-08-17T08:17:21.348" v="986"/>
          <ac:spMkLst>
            <pc:docMk/>
            <pc:sldMk cId="1527107871" sldId="294"/>
            <ac:spMk id="3" creationId="{E6457753-D74F-4F38-BD66-C620F82E540F}"/>
          </ac:spMkLst>
        </pc:spChg>
      </pc:sldChg>
      <pc:sldChg chg="modAnim">
        <pc:chgData name="Thomas Stensitzki" userId="75cafe6b-2f2a-469b-85c4-eec3b9c972ba" providerId="ADAL" clId="{AAD96DC6-27DA-4212-8382-67920AB94B8D}" dt="2021-08-17T07:57:08.164" v="531"/>
        <pc:sldMkLst>
          <pc:docMk/>
          <pc:sldMk cId="1494450289" sldId="295"/>
        </pc:sldMkLst>
      </pc:sldChg>
      <pc:sldChg chg="delSp modSp mod modAnim">
        <pc:chgData name="Thomas Stensitzki" userId="75cafe6b-2f2a-469b-85c4-eec3b9c972ba" providerId="ADAL" clId="{AAD96DC6-27DA-4212-8382-67920AB94B8D}" dt="2021-08-17T07:58:23.618" v="540" actId="478"/>
        <pc:sldMkLst>
          <pc:docMk/>
          <pc:sldMk cId="2758494623" sldId="296"/>
        </pc:sldMkLst>
        <pc:spChg chg="mod">
          <ac:chgData name="Thomas Stensitzki" userId="75cafe6b-2f2a-469b-85c4-eec3b9c972ba" providerId="ADAL" clId="{AAD96DC6-27DA-4212-8382-67920AB94B8D}" dt="2021-08-17T07:57:32.861" v="533" actId="1076"/>
          <ac:spMkLst>
            <pc:docMk/>
            <pc:sldMk cId="2758494623" sldId="296"/>
            <ac:spMk id="10" creationId="{3DDFDD46-1C45-48F7-9664-16F78EEB66D0}"/>
          </ac:spMkLst>
        </pc:spChg>
        <pc:picChg chg="del">
          <ac:chgData name="Thomas Stensitzki" userId="75cafe6b-2f2a-469b-85c4-eec3b9c972ba" providerId="ADAL" clId="{AAD96DC6-27DA-4212-8382-67920AB94B8D}" dt="2021-08-17T07:58:23.618" v="540" actId="478"/>
          <ac:picMkLst>
            <pc:docMk/>
            <pc:sldMk cId="2758494623" sldId="296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7:58:22.831" v="539" actId="478"/>
          <ac:cxnSpMkLst>
            <pc:docMk/>
            <pc:sldMk cId="2758494623" sldId="296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16.454" v="553"/>
        <pc:sldMkLst>
          <pc:docMk/>
          <pc:sldMk cId="1864099125" sldId="297"/>
        </pc:sldMkLst>
        <pc:grpChg chg="add mod">
          <ac:chgData name="Thomas Stensitzki" userId="75cafe6b-2f2a-469b-85c4-eec3b9c972ba" providerId="ADAL" clId="{AAD96DC6-27DA-4212-8382-67920AB94B8D}" dt="2021-08-17T07:58:49.245" v="543" actId="164"/>
          <ac:grpSpMkLst>
            <pc:docMk/>
            <pc:sldMk cId="1864099125" sldId="297"/>
            <ac:grpSpMk id="3" creationId="{841D6E04-76D2-480E-B650-F343EDE9A848}"/>
          </ac:grpSpMkLst>
        </pc:grpChg>
        <pc:picChg chg="del">
          <ac:chgData name="Thomas Stensitzki" userId="75cafe6b-2f2a-469b-85c4-eec3b9c972ba" providerId="ADAL" clId="{AAD96DC6-27DA-4212-8382-67920AB94B8D}" dt="2021-08-17T07:58:32.053" v="542" actId="478"/>
          <ac:picMkLst>
            <pc:docMk/>
            <pc:sldMk cId="1864099125" sldId="297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1" creationId="{FF2A6880-FB00-4D85-8FB7-DC904A2DA90F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4" creationId="{962D38E7-0EBD-46EE-A35B-CFF77C75D272}"/>
          </ac:picMkLst>
        </pc:picChg>
        <pc:cxnChg chg="mod">
          <ac:chgData name="Thomas Stensitzki" userId="75cafe6b-2f2a-469b-85c4-eec3b9c972ba" providerId="ADAL" clId="{AAD96DC6-27DA-4212-8382-67920AB94B8D}" dt="2021-08-17T07:59:15.950" v="549" actId="14100"/>
          <ac:cxnSpMkLst>
            <pc:docMk/>
            <pc:sldMk cId="1864099125" sldId="297"/>
            <ac:cxnSpMk id="8" creationId="{61AB7456-4D3F-483D-B5DB-904E82EB8ACE}"/>
          </ac:cxnSpMkLst>
        </pc:cxnChg>
        <pc:cxnChg chg="del mod">
          <ac:chgData name="Thomas Stensitzki" userId="75cafe6b-2f2a-469b-85c4-eec3b9c972ba" providerId="ADAL" clId="{AAD96DC6-27DA-4212-8382-67920AB94B8D}" dt="2021-08-17T07:58:31.557" v="541" actId="478"/>
          <ac:cxnSpMkLst>
            <pc:docMk/>
            <pc:sldMk cId="1864099125" sldId="297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7T07:59:09.533" v="547" actId="14100"/>
          <ac:cxnSpMkLst>
            <pc:docMk/>
            <pc:sldMk cId="1864099125" sldId="297"/>
            <ac:cxnSpMk id="23" creationId="{83BCCCB0-069D-4308-9B27-D449ADCFC489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57.848" v="562"/>
        <pc:sldMkLst>
          <pc:docMk/>
          <pc:sldMk cId="1384151020" sldId="298"/>
        </pc:sldMkLst>
        <pc:grpChg chg="add mod">
          <ac:chgData name="Thomas Stensitzki" userId="75cafe6b-2f2a-469b-85c4-eec3b9c972ba" providerId="ADAL" clId="{AAD96DC6-27DA-4212-8382-67920AB94B8D}" dt="2021-08-17T08:00:35.701" v="556" actId="164"/>
          <ac:grpSpMkLst>
            <pc:docMk/>
            <pc:sldMk cId="1384151020" sldId="298"/>
            <ac:grpSpMk id="3" creationId="{D996FE7A-625D-4659-8365-732A28604BFF}"/>
          </ac:grpSpMkLst>
        </pc:grp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5" creationId="{EDA8633F-832A-46E7-BEB8-D5D688D7B6D3}"/>
          </ac:picMkLst>
        </pc:picChg>
        <pc:picChg chg="del">
          <ac:chgData name="Thomas Stensitzki" userId="75cafe6b-2f2a-469b-85c4-eec3b9c972ba" providerId="ADAL" clId="{AAD96DC6-27DA-4212-8382-67920AB94B8D}" dt="2021-08-17T08:00:30.390" v="555" actId="478"/>
          <ac:picMkLst>
            <pc:docMk/>
            <pc:sldMk cId="1384151020" sldId="298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22" creationId="{5E4A36F9-F4FF-4E08-82B6-0F60B2B5AADF}"/>
          </ac:picMkLst>
        </pc:picChg>
        <pc:cxnChg chg="del mod">
          <ac:chgData name="Thomas Stensitzki" userId="75cafe6b-2f2a-469b-85c4-eec3b9c972ba" providerId="ADAL" clId="{AAD96DC6-27DA-4212-8382-67920AB94B8D}" dt="2021-08-17T08:00:29.900" v="554" actId="478"/>
          <ac:cxnSpMkLst>
            <pc:docMk/>
            <pc:sldMk cId="1384151020" sldId="298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2:12.744" v="570"/>
        <pc:sldMkLst>
          <pc:docMk/>
          <pc:sldMk cId="3766929687" sldId="299"/>
        </pc:sldMkLst>
        <pc:grpChg chg="add mod">
          <ac:chgData name="Thomas Stensitzki" userId="75cafe6b-2f2a-469b-85c4-eec3b9c972ba" providerId="ADAL" clId="{AAD96DC6-27DA-4212-8382-67920AB94B8D}" dt="2021-08-17T08:01:42.964" v="565" actId="164"/>
          <ac:grpSpMkLst>
            <pc:docMk/>
            <pc:sldMk cId="3766929687" sldId="299"/>
            <ac:grpSpMk id="3" creationId="{4E7C241C-E46D-4A07-AB7D-3466765DAA3C}"/>
          </ac:grpSpMkLst>
        </pc:grp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6" creationId="{A37EF680-B335-47D7-9623-36CC8157598C}"/>
          </ac:picMkLst>
        </pc:pic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8" creationId="{4BC356EA-EFE5-4F59-B6B7-27CE5951C29C}"/>
          </ac:picMkLst>
        </pc:picChg>
        <pc:picChg chg="del">
          <ac:chgData name="Thomas Stensitzki" userId="75cafe6b-2f2a-469b-85c4-eec3b9c972ba" providerId="ADAL" clId="{AAD96DC6-27DA-4212-8382-67920AB94B8D}" dt="2021-08-17T08:01:33.443" v="564" actId="478"/>
          <ac:picMkLst>
            <pc:docMk/>
            <pc:sldMk cId="3766929687" sldId="299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8:01:32.972" v="563" actId="478"/>
          <ac:cxnSpMkLst>
            <pc:docMk/>
            <pc:sldMk cId="3766929687" sldId="299"/>
            <ac:cxnSpMk id="14" creationId="{EB2EEE35-F94F-4773-8963-9E72ED0A87EB}"/>
          </ac:cxnSpMkLst>
        </pc:cxnChg>
      </pc:sldChg>
      <pc:sldChg chg="ord modAnim">
        <pc:chgData name="Thomas Stensitzki" userId="75cafe6b-2f2a-469b-85c4-eec3b9c972ba" providerId="ADAL" clId="{AAD96DC6-27DA-4212-8382-67920AB94B8D}" dt="2021-08-17T08:06:53.272" v="641"/>
        <pc:sldMkLst>
          <pc:docMk/>
          <pc:sldMk cId="2049685247" sldId="300"/>
        </pc:sldMkLst>
      </pc:sldChg>
      <pc:sldChg chg="addSp delSp modSp new mod modClrScheme chgLayout">
        <pc:chgData name="Thomas Stensitzki" userId="75cafe6b-2f2a-469b-85c4-eec3b9c972ba" providerId="ADAL" clId="{AAD96DC6-27DA-4212-8382-67920AB94B8D}" dt="2021-08-14T15:21:47.665" v="54" actId="20577"/>
        <pc:sldMkLst>
          <pc:docMk/>
          <pc:sldMk cId="1480016162" sldId="301"/>
        </pc:sldMkLst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2" creationId="{3D5A5DD0-A9F7-4CF8-81FA-E33BE4E39B64}"/>
          </ac:spMkLst>
        </pc:spChg>
        <pc:spChg chg="del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3" creationId="{4DA52E22-61A9-431A-B7D5-7134A5D079F9}"/>
          </ac:spMkLst>
        </pc:spChg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4" creationId="{7D8A63B4-8FC3-4F51-B304-AC8C13A83D80}"/>
          </ac:spMkLst>
        </pc:spChg>
        <pc:spChg chg="add mod ord">
          <ac:chgData name="Thomas Stensitzki" userId="75cafe6b-2f2a-469b-85c4-eec3b9c972ba" providerId="ADAL" clId="{AAD96DC6-27DA-4212-8382-67920AB94B8D}" dt="2021-08-14T15:21:40.574" v="26" actId="20577"/>
          <ac:spMkLst>
            <pc:docMk/>
            <pc:sldMk cId="1480016162" sldId="301"/>
            <ac:spMk id="5" creationId="{40526724-AC26-4B64-8CBD-388146F21F10}"/>
          </ac:spMkLst>
        </pc:spChg>
        <pc:spChg chg="add mod ord">
          <ac:chgData name="Thomas Stensitzki" userId="75cafe6b-2f2a-469b-85c4-eec3b9c972ba" providerId="ADAL" clId="{AAD96DC6-27DA-4212-8382-67920AB94B8D}" dt="2021-08-14T15:21:47.665" v="54" actId="20577"/>
          <ac:spMkLst>
            <pc:docMk/>
            <pc:sldMk cId="1480016162" sldId="301"/>
            <ac:spMk id="6" creationId="{18D200D1-8891-428B-906E-405BAD75EB9A}"/>
          </ac:spMkLst>
        </pc:spChg>
      </pc:sldChg>
      <pc:sldChg chg="modSp add mod ord">
        <pc:chgData name="Thomas Stensitzki" userId="75cafe6b-2f2a-469b-85c4-eec3b9c972ba" providerId="ADAL" clId="{AAD96DC6-27DA-4212-8382-67920AB94B8D}" dt="2021-08-14T15:22:18.440" v="63" actId="20577"/>
        <pc:sldMkLst>
          <pc:docMk/>
          <pc:sldMk cId="445697827" sldId="302"/>
        </pc:sldMkLst>
        <pc:spChg chg="mod">
          <ac:chgData name="Thomas Stensitzki" userId="75cafe6b-2f2a-469b-85c4-eec3b9c972ba" providerId="ADAL" clId="{AAD96DC6-27DA-4212-8382-67920AB94B8D}" dt="2021-08-14T15:22:18.440" v="63" actId="20577"/>
          <ac:spMkLst>
            <pc:docMk/>
            <pc:sldMk cId="445697827" sldId="302"/>
            <ac:spMk id="5" creationId="{40526724-AC26-4B64-8CBD-388146F21F10}"/>
          </ac:spMkLst>
        </pc:spChg>
      </pc:sldChg>
      <pc:sldChg chg="addSp delSp modSp add mod modAnim">
        <pc:chgData name="Thomas Stensitzki" userId="75cafe6b-2f2a-469b-85c4-eec3b9c972ba" providerId="ADAL" clId="{AAD96DC6-27DA-4212-8382-67920AB94B8D}" dt="2021-08-17T08:07:51.540" v="644"/>
        <pc:sldMkLst>
          <pc:docMk/>
          <pc:sldMk cId="1447804453" sldId="303"/>
        </pc:sldMkLst>
        <pc:spChg chg="mod">
          <ac:chgData name="Thomas Stensitzki" userId="75cafe6b-2f2a-469b-85c4-eec3b9c972ba" providerId="ADAL" clId="{AAD96DC6-27DA-4212-8382-67920AB94B8D}" dt="2021-08-14T15:27:51.123" v="225" actId="20577"/>
          <ac:spMkLst>
            <pc:docMk/>
            <pc:sldMk cId="1447804453" sldId="303"/>
            <ac:spMk id="4" creationId="{3B1EE35D-1626-448C-9DFC-E60EE0F1A950}"/>
          </ac:spMkLst>
        </pc:spChg>
        <pc:spChg chg="add mod">
          <ac:chgData name="Thomas Stensitzki" userId="75cafe6b-2f2a-469b-85c4-eec3b9c972ba" providerId="ADAL" clId="{AAD96DC6-27DA-4212-8382-67920AB94B8D}" dt="2021-08-14T15:26:29.021" v="207" actId="20577"/>
          <ac:spMkLst>
            <pc:docMk/>
            <pc:sldMk cId="1447804453" sldId="303"/>
            <ac:spMk id="27" creationId="{0BAFDAD7-F2E7-4FF0-8945-EE00FE30CE81}"/>
          </ac:spMkLst>
        </pc:spChg>
        <pc:picChg chg="add mod">
          <ac:chgData name="Thomas Stensitzki" userId="75cafe6b-2f2a-469b-85c4-eec3b9c972ba" providerId="ADAL" clId="{AAD96DC6-27DA-4212-8382-67920AB94B8D}" dt="2021-08-14T15:24:05.228" v="70" actId="1076"/>
          <ac:picMkLst>
            <pc:docMk/>
            <pc:sldMk cId="1447804453" sldId="303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4T15:25:02.418" v="77" actId="1076"/>
          <ac:picMkLst>
            <pc:docMk/>
            <pc:sldMk cId="1447804453" sldId="303"/>
            <ac:picMk id="22" creationId="{BDF5EDED-61F0-49A8-AE48-2657056A7EF0}"/>
          </ac:picMkLst>
        </pc:picChg>
        <pc:picChg chg="del">
          <ac:chgData name="Thomas Stensitzki" userId="75cafe6b-2f2a-469b-85c4-eec3b9c972ba" providerId="ADAL" clId="{AAD96DC6-27DA-4212-8382-67920AB94B8D}" dt="2021-08-14T15:22:22.217" v="64" actId="478"/>
          <ac:picMkLst>
            <pc:docMk/>
            <pc:sldMk cId="1447804453" sldId="303"/>
            <ac:picMk id="23" creationId="{A678CF66-08A5-432A-9938-919C8922A36E}"/>
          </ac:picMkLst>
        </pc:picChg>
        <pc:cxnChg chg="del mod">
          <ac:chgData name="Thomas Stensitzki" userId="75cafe6b-2f2a-469b-85c4-eec3b9c972ba" providerId="ADAL" clId="{AAD96DC6-27DA-4212-8382-67920AB94B8D}" dt="2021-08-14T15:22:27.921" v="65" actId="478"/>
          <ac:cxnSpMkLst>
            <pc:docMk/>
            <pc:sldMk cId="1447804453" sldId="303"/>
            <ac:cxnSpMk id="7" creationId="{85122450-227A-47B7-9509-0E5B5F419191}"/>
          </ac:cxnSpMkLst>
        </pc:cxnChg>
        <pc:cxnChg chg="mod">
          <ac:chgData name="Thomas Stensitzki" userId="75cafe6b-2f2a-469b-85c4-eec3b9c972ba" providerId="ADAL" clId="{AAD96DC6-27DA-4212-8382-67920AB94B8D}" dt="2021-08-14T15:24:08.979" v="71" actId="14100"/>
          <ac:cxnSpMkLst>
            <pc:docMk/>
            <pc:sldMk cId="1447804453" sldId="303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24:43.155" v="75" actId="208"/>
          <ac:cxnSpMkLst>
            <pc:docMk/>
            <pc:sldMk cId="1447804453" sldId="303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25:30.160" v="82" actId="693"/>
          <ac:cxnSpMkLst>
            <pc:docMk/>
            <pc:sldMk cId="1447804453" sldId="303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8:56.537" v="649"/>
        <pc:sldMkLst>
          <pc:docMk/>
          <pc:sldMk cId="2082075540" sldId="304"/>
        </pc:sldMkLst>
        <pc:spChg chg="mod">
          <ac:chgData name="Thomas Stensitzki" userId="75cafe6b-2f2a-469b-85c4-eec3b9c972ba" providerId="ADAL" clId="{AAD96DC6-27DA-4212-8382-67920AB94B8D}" dt="2021-08-14T15:28:45.521" v="283" actId="1076"/>
          <ac:spMkLst>
            <pc:docMk/>
            <pc:sldMk cId="2082075540" sldId="304"/>
            <ac:spMk id="27" creationId="{0BAFDAD7-F2E7-4FF0-8945-EE00FE30CE81}"/>
          </ac:spMkLst>
        </pc:spChg>
        <pc:picChg chg="del">
          <ac:chgData name="Thomas Stensitzki" userId="75cafe6b-2f2a-469b-85c4-eec3b9c972ba" providerId="ADAL" clId="{AAD96DC6-27DA-4212-8382-67920AB94B8D}" dt="2021-08-14T15:28:57.054" v="285" actId="478"/>
          <ac:picMkLst>
            <pc:docMk/>
            <pc:sldMk cId="2082075540" sldId="304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7T08:08:21.298" v="646" actId="1076"/>
          <ac:picMkLst>
            <pc:docMk/>
            <pc:sldMk cId="2082075540" sldId="304"/>
            <ac:picMk id="18" creationId="{8BF51380-89AC-4CD5-9F6B-7FF6A748B8DA}"/>
          </ac:picMkLst>
        </pc:picChg>
        <pc:picChg chg="add mod">
          <ac:chgData name="Thomas Stensitzki" userId="75cafe6b-2f2a-469b-85c4-eec3b9c972ba" providerId="ADAL" clId="{AAD96DC6-27DA-4212-8382-67920AB94B8D}" dt="2021-08-17T08:08:45.567" v="648" actId="1076"/>
          <ac:picMkLst>
            <pc:docMk/>
            <pc:sldMk cId="2082075540" sldId="304"/>
            <ac:picMk id="19" creationId="{027B626A-47DB-4EAC-BC88-CD607E42AB6D}"/>
          </ac:picMkLst>
        </pc:picChg>
        <pc:picChg chg="del">
          <ac:chgData name="Thomas Stensitzki" userId="75cafe6b-2f2a-469b-85c4-eec3b9c972ba" providerId="ADAL" clId="{AAD96DC6-27DA-4212-8382-67920AB94B8D}" dt="2021-08-14T15:29:09.109" v="288" actId="478"/>
          <ac:picMkLst>
            <pc:docMk/>
            <pc:sldMk cId="2082075540" sldId="304"/>
            <ac:picMk id="22" creationId="{BDF5EDED-61F0-49A8-AE48-2657056A7EF0}"/>
          </ac:picMkLst>
        </pc:picChg>
        <pc:cxnChg chg="mod">
          <ac:chgData name="Thomas Stensitzki" userId="75cafe6b-2f2a-469b-85c4-eec3b9c972ba" providerId="ADAL" clId="{AAD96DC6-27DA-4212-8382-67920AB94B8D}" dt="2021-08-14T15:28:54.078" v="284" actId="14100"/>
          <ac:cxnSpMkLst>
            <pc:docMk/>
            <pc:sldMk cId="2082075540" sldId="304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29:06.612" v="287" actId="14100"/>
          <ac:cxnSpMkLst>
            <pc:docMk/>
            <pc:sldMk cId="2082075540" sldId="304"/>
            <ac:cxnSpMk id="16" creationId="{3C60435B-AE29-4678-8C65-0DF50E2C9270}"/>
          </ac:cxnSpMkLst>
        </pc:cxnChg>
        <pc:cxnChg chg="del mod">
          <ac:chgData name="Thomas Stensitzki" userId="75cafe6b-2f2a-469b-85c4-eec3b9c972ba" providerId="ADAL" clId="{AAD96DC6-27DA-4212-8382-67920AB94B8D}" dt="2021-08-14T15:28:59.376" v="286" actId="478"/>
          <ac:cxnSpMkLst>
            <pc:docMk/>
            <pc:sldMk cId="2082075540" sldId="304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11:35.662" v="662"/>
        <pc:sldMkLst>
          <pc:docMk/>
          <pc:sldMk cId="994848826" sldId="305"/>
        </pc:sldMkLst>
        <pc:spChg chg="mod">
          <ac:chgData name="Thomas Stensitzki" userId="75cafe6b-2f2a-469b-85c4-eec3b9c972ba" providerId="ADAL" clId="{AAD96DC6-27DA-4212-8382-67920AB94B8D}" dt="2021-08-14T15:41:20.537" v="367" actId="20577"/>
          <ac:spMkLst>
            <pc:docMk/>
            <pc:sldMk cId="994848826" sldId="305"/>
            <ac:spMk id="4" creationId="{3B1EE35D-1626-448C-9DFC-E60EE0F1A950}"/>
          </ac:spMkLst>
        </pc:spChg>
        <pc:spChg chg="del mod">
          <ac:chgData name="Thomas Stensitzki" userId="75cafe6b-2f2a-469b-85c4-eec3b9c972ba" providerId="ADAL" clId="{AAD96DC6-27DA-4212-8382-67920AB94B8D}" dt="2021-08-14T15:41:33.040" v="369" actId="478"/>
          <ac:spMkLst>
            <pc:docMk/>
            <pc:sldMk cId="994848826" sldId="305"/>
            <ac:spMk id="27" creationId="{0BAFDAD7-F2E7-4FF0-8945-EE00FE30CE81}"/>
          </ac:spMkLst>
        </pc:spChg>
        <pc:spChg chg="add del mod">
          <ac:chgData name="Thomas Stensitzki" userId="75cafe6b-2f2a-469b-85c4-eec3b9c972ba" providerId="ADAL" clId="{AAD96DC6-27DA-4212-8382-67920AB94B8D}" dt="2021-08-14T15:41:52.764" v="372" actId="478"/>
          <ac:spMkLst>
            <pc:docMk/>
            <pc:sldMk cId="994848826" sldId="305"/>
            <ac:spMk id="33" creationId="{D10F5F80-4017-46A3-A0FB-844F05464D37}"/>
          </ac:spMkLst>
        </pc:spChg>
        <pc:picChg chg="add mod">
          <ac:chgData name="Thomas Stensitzki" userId="75cafe6b-2f2a-469b-85c4-eec3b9c972ba" providerId="ADAL" clId="{AAD96DC6-27DA-4212-8382-67920AB94B8D}" dt="2021-08-14T15:39:29.882" v="307" actId="1076"/>
          <ac:picMkLst>
            <pc:docMk/>
            <pc:sldMk cId="994848826" sldId="305"/>
            <ac:picMk id="5" creationId="{28739203-6752-415B-8CC7-4871CE9A0C8F}"/>
          </ac:picMkLst>
        </pc:picChg>
        <pc:picChg chg="add del mod">
          <ac:chgData name="Thomas Stensitzki" userId="75cafe6b-2f2a-469b-85c4-eec3b9c972ba" providerId="ADAL" clId="{AAD96DC6-27DA-4212-8382-67920AB94B8D}" dt="2021-08-14T15:38:46.313" v="300" actId="478"/>
          <ac:picMkLst>
            <pc:docMk/>
            <pc:sldMk cId="994848826" sldId="305"/>
            <ac:picMk id="8" creationId="{4524A126-B3FC-41CB-8D69-32E5E7ED053B}"/>
          </ac:picMkLst>
        </pc:picChg>
        <pc:picChg chg="add mod">
          <ac:chgData name="Thomas Stensitzki" userId="75cafe6b-2f2a-469b-85c4-eec3b9c972ba" providerId="ADAL" clId="{AAD96DC6-27DA-4212-8382-67920AB94B8D}" dt="2021-08-14T15:38:52.491" v="301" actId="1076"/>
          <ac:picMkLst>
            <pc:docMk/>
            <pc:sldMk cId="994848826" sldId="305"/>
            <ac:picMk id="18" creationId="{57FCC296-27F8-461A-9923-58A0FEDB9A28}"/>
          </ac:picMkLst>
        </pc:picChg>
        <pc:picChg chg="mod">
          <ac:chgData name="Thomas Stensitzki" userId="75cafe6b-2f2a-469b-85c4-eec3b9c972ba" providerId="ADAL" clId="{AAD96DC6-27DA-4212-8382-67920AB94B8D}" dt="2021-08-14T15:39:36.903" v="308" actId="1076"/>
          <ac:picMkLst>
            <pc:docMk/>
            <pc:sldMk cId="994848826" sldId="305"/>
            <ac:picMk id="20" creationId="{598168DF-E2C1-4425-92E6-722D97A426E7}"/>
          </ac:picMkLst>
        </pc:picChg>
        <pc:picChg chg="del">
          <ac:chgData name="Thomas Stensitzki" userId="75cafe6b-2f2a-469b-85c4-eec3b9c972ba" providerId="ADAL" clId="{AAD96DC6-27DA-4212-8382-67920AB94B8D}" dt="2021-08-14T15:32:45.741" v="292" actId="478"/>
          <ac:picMkLst>
            <pc:docMk/>
            <pc:sldMk cId="994848826" sldId="305"/>
            <ac:picMk id="21" creationId="{EB8E2D90-A86A-4119-AFF8-81A297DA999C}"/>
          </ac:picMkLst>
        </pc:picChg>
        <pc:cxnChg chg="mod">
          <ac:chgData name="Thomas Stensitzki" userId="75cafe6b-2f2a-469b-85c4-eec3b9c972ba" providerId="ADAL" clId="{AAD96DC6-27DA-4212-8382-67920AB94B8D}" dt="2021-08-14T15:39:36.903" v="308" actId="1076"/>
          <ac:cxnSpMkLst>
            <pc:docMk/>
            <pc:sldMk cId="994848826" sldId="305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39:29.882" v="307" actId="1076"/>
          <ac:cxnSpMkLst>
            <pc:docMk/>
            <pc:sldMk cId="994848826" sldId="305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40:25.170" v="314" actId="693"/>
          <ac:cxnSpMkLst>
            <pc:docMk/>
            <pc:sldMk cId="994848826" sldId="305"/>
            <ac:cxnSpMk id="28" creationId="{C56EAEF4-CCC7-48B4-8199-F5C05CDC696C}"/>
          </ac:cxnSpMkLst>
        </pc:cxnChg>
        <pc:cxnChg chg="add mod">
          <ac:chgData name="Thomas Stensitzki" userId="75cafe6b-2f2a-469b-85c4-eec3b9c972ba" providerId="ADAL" clId="{AAD96DC6-27DA-4212-8382-67920AB94B8D}" dt="2021-08-14T15:40:40.472" v="318" actId="14100"/>
          <ac:cxnSpMkLst>
            <pc:docMk/>
            <pc:sldMk cId="994848826" sldId="305"/>
            <ac:cxnSpMk id="29" creationId="{7A55F30A-D497-4E1A-98A8-1027D4BCABD9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3:46.122" v="578"/>
        <pc:sldMkLst>
          <pc:docMk/>
          <pc:sldMk cId="3392101237" sldId="306"/>
        </pc:sldMkLst>
        <pc:spChg chg="mod">
          <ac:chgData name="Thomas Stensitzki" userId="75cafe6b-2f2a-469b-85c4-eec3b9c972ba" providerId="ADAL" clId="{AAD96DC6-27DA-4212-8382-67920AB94B8D}" dt="2021-08-14T15:44:31.741" v="424" actId="20577"/>
          <ac:spMkLst>
            <pc:docMk/>
            <pc:sldMk cId="3392101237" sldId="306"/>
            <ac:spMk id="4" creationId="{3B1EE35D-1626-448C-9DFC-E60EE0F1A950}"/>
          </ac:spMkLst>
        </pc:spChg>
        <pc:spChg chg="mod">
          <ac:chgData name="Thomas Stensitzki" userId="75cafe6b-2f2a-469b-85c4-eec3b9c972ba" providerId="ADAL" clId="{AAD96DC6-27DA-4212-8382-67920AB94B8D}" dt="2021-08-14T15:47:15.616" v="462" actId="20577"/>
          <ac:spMkLst>
            <pc:docMk/>
            <pc:sldMk cId="3392101237" sldId="306"/>
            <ac:spMk id="22" creationId="{68E2C85D-6599-43FC-BEBA-26199AF1B1DA}"/>
          </ac:spMkLst>
        </pc:spChg>
        <pc:spChg chg="add mod">
          <ac:chgData name="Thomas Stensitzki" userId="75cafe6b-2f2a-469b-85c4-eec3b9c972ba" providerId="ADAL" clId="{AAD96DC6-27DA-4212-8382-67920AB94B8D}" dt="2021-08-14T15:47:58.609" v="496" actId="1076"/>
          <ac:spMkLst>
            <pc:docMk/>
            <pc:sldMk cId="3392101237" sldId="306"/>
            <ac:spMk id="29" creationId="{85CFD54D-E144-445A-A898-AF4B7AE69F58}"/>
          </ac:spMkLst>
        </pc:spChg>
        <pc:grpChg chg="add mod">
          <ac:chgData name="Thomas Stensitzki" userId="75cafe6b-2f2a-469b-85c4-eec3b9c972ba" providerId="ADAL" clId="{AAD96DC6-27DA-4212-8382-67920AB94B8D}" dt="2021-08-17T08:03:07.118" v="575" actId="164"/>
          <ac:grpSpMkLst>
            <pc:docMk/>
            <pc:sldMk cId="3392101237" sldId="306"/>
            <ac:grpSpMk id="19" creationId="{99CE32AE-31BF-4B2F-88E5-9A8D4E606F2B}"/>
          </ac:grpSpMkLst>
        </pc:grp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6" creationId="{32D39D4A-C549-46F6-81CD-8FDDF774FFEB}"/>
          </ac:picMkLst>
        </pc:pic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9" creationId="{4CDC3899-F8AD-4774-A6BA-FD634E07B384}"/>
          </ac:picMkLst>
        </pc:picChg>
        <pc:picChg chg="del">
          <ac:chgData name="Thomas Stensitzki" userId="75cafe6b-2f2a-469b-85c4-eec3b9c972ba" providerId="ADAL" clId="{AAD96DC6-27DA-4212-8382-67920AB94B8D}" dt="2021-08-17T08:02:28.005" v="571" actId="478"/>
          <ac:picMkLst>
            <pc:docMk/>
            <pc:sldMk cId="3392101237" sldId="306"/>
            <ac:picMk id="20" creationId="{598168DF-E2C1-4425-92E6-722D97A426E7}"/>
          </ac:picMkLst>
        </pc:picChg>
        <pc:picChg chg="add mod">
          <ac:chgData name="Thomas Stensitzki" userId="75cafe6b-2f2a-469b-85c4-eec3b9c972ba" providerId="ADAL" clId="{AAD96DC6-27DA-4212-8382-67920AB94B8D}" dt="2021-08-14T15:45:26.738" v="430" actId="1076"/>
          <ac:picMkLst>
            <pc:docMk/>
            <pc:sldMk cId="3392101237" sldId="306"/>
            <ac:picMk id="23" creationId="{125EA656-2C43-4042-A921-E4636AAA1591}"/>
          </ac:picMkLst>
        </pc:picChg>
        <pc:picChg chg="add mod">
          <ac:chgData name="Thomas Stensitzki" userId="75cafe6b-2f2a-469b-85c4-eec3b9c972ba" providerId="ADAL" clId="{AAD96DC6-27DA-4212-8382-67920AB94B8D}" dt="2021-08-14T15:46:21.969" v="436" actId="1076"/>
          <ac:picMkLst>
            <pc:docMk/>
            <pc:sldMk cId="3392101237" sldId="306"/>
            <ac:picMk id="25" creationId="{425E774C-459C-4752-86EC-DA82FD82575B}"/>
          </ac:picMkLst>
        </pc:picChg>
        <pc:cxnChg chg="del mod">
          <ac:chgData name="Thomas Stensitzki" userId="75cafe6b-2f2a-469b-85c4-eec3b9c972ba" providerId="ADAL" clId="{AAD96DC6-27DA-4212-8382-67920AB94B8D}" dt="2021-08-17T08:02:28.884" v="572" actId="478"/>
          <ac:cxnSpMkLst>
            <pc:docMk/>
            <pc:sldMk cId="3392101237" sldId="306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46:03.908" v="434" actId="14100"/>
          <ac:cxnSpMkLst>
            <pc:docMk/>
            <pc:sldMk cId="3392101237" sldId="306"/>
            <ac:cxnSpMk id="24" creationId="{22EBB72E-81E1-463A-AA2B-6E7E651B794E}"/>
          </ac:cxnSpMkLst>
        </pc:cxnChg>
        <pc:cxnChg chg="add mod">
          <ac:chgData name="Thomas Stensitzki" userId="75cafe6b-2f2a-469b-85c4-eec3b9c972ba" providerId="ADAL" clId="{AAD96DC6-27DA-4212-8382-67920AB94B8D}" dt="2021-08-14T15:46:40.768" v="441" actId="33986"/>
          <ac:cxnSpMkLst>
            <pc:docMk/>
            <pc:sldMk cId="3392101237" sldId="306"/>
            <ac:cxnSpMk id="26" creationId="{E8E25745-7694-419A-A408-A500E94EB567}"/>
          </ac:cxnSpMkLst>
        </pc:cxnChg>
      </pc:sldChg>
      <pc:sldChg chg="modSp new del">
        <pc:chgData name="Thomas Stensitzki" userId="75cafe6b-2f2a-469b-85c4-eec3b9c972ba" providerId="ADAL" clId="{AAD96DC6-27DA-4212-8382-67920AB94B8D}" dt="2021-08-17T08:04:36.060" v="589" actId="2696"/>
        <pc:sldMkLst>
          <pc:docMk/>
          <pc:sldMk cId="3038913925" sldId="307"/>
        </pc:sldMkLst>
        <pc:spChg chg="mod">
          <ac:chgData name="Thomas Stensitzki" userId="75cafe6b-2f2a-469b-85c4-eec3b9c972ba" providerId="ADAL" clId="{AAD96DC6-27DA-4212-8382-67920AB94B8D}" dt="2021-08-17T08:04:28.675" v="588" actId="20577"/>
          <ac:spMkLst>
            <pc:docMk/>
            <pc:sldMk cId="3038913925" sldId="307"/>
            <ac:spMk id="2" creationId="{8EF25075-CCAB-4CC0-A3CB-A5FE739F93DA}"/>
          </ac:spMkLst>
        </pc:spChg>
      </pc:sldChg>
      <pc:sldChg chg="addSp delSp modSp add mod ord">
        <pc:chgData name="Thomas Stensitzki" userId="75cafe6b-2f2a-469b-85c4-eec3b9c972ba" providerId="ADAL" clId="{AAD96DC6-27DA-4212-8382-67920AB94B8D}" dt="2021-08-17T08:18:41.284" v="1054"/>
        <pc:sldMkLst>
          <pc:docMk/>
          <pc:sldMk cId="3239972118" sldId="307"/>
        </pc:sldMkLst>
        <pc:spChg chg="mod">
          <ac:chgData name="Thomas Stensitzki" userId="75cafe6b-2f2a-469b-85c4-eec3b9c972ba" providerId="ADAL" clId="{AAD96DC6-27DA-4212-8382-67920AB94B8D}" dt="2021-08-17T08:06:16.542" v="635" actId="20577"/>
          <ac:spMkLst>
            <pc:docMk/>
            <pc:sldMk cId="3239972118" sldId="307"/>
            <ac:spMk id="6" creationId="{18D200D1-8891-428B-906E-405BAD75EB9A}"/>
          </ac:spMkLst>
        </pc:spChg>
        <pc:picChg chg="add del mod">
          <ac:chgData name="Thomas Stensitzki" userId="75cafe6b-2f2a-469b-85c4-eec3b9c972ba" providerId="ADAL" clId="{AAD96DC6-27DA-4212-8382-67920AB94B8D}" dt="2021-08-17T08:18:41.015" v="1053" actId="478"/>
          <ac:picMkLst>
            <pc:docMk/>
            <pc:sldMk cId="3239972118" sldId="307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41.284" v="1054"/>
          <ac:picMkLst>
            <pc:docMk/>
            <pc:sldMk cId="3239972118" sldId="307"/>
            <ac:picMk id="7" creationId="{1F2F1CCA-AAE3-4AB7-900C-AA5031FE15CC}"/>
          </ac:picMkLst>
        </pc:picChg>
      </pc:sldChg>
      <pc:sldChg chg="addSp delSp modSp add mod ord">
        <pc:chgData name="Thomas Stensitzki" userId="75cafe6b-2f2a-469b-85c4-eec3b9c972ba" providerId="ADAL" clId="{AAD96DC6-27DA-4212-8382-67920AB94B8D}" dt="2021-08-17T08:18:36.362" v="1052"/>
        <pc:sldMkLst>
          <pc:docMk/>
          <pc:sldMk cId="2357793335" sldId="308"/>
        </pc:sldMkLst>
        <pc:spChg chg="mod">
          <ac:chgData name="Thomas Stensitzki" userId="75cafe6b-2f2a-469b-85c4-eec3b9c972ba" providerId="ADAL" clId="{AAD96DC6-27DA-4212-8382-67920AB94B8D}" dt="2021-08-17T08:12:56.770" v="670" actId="20577"/>
          <ac:spMkLst>
            <pc:docMk/>
            <pc:sldMk cId="2357793335" sldId="308"/>
            <ac:spMk id="5" creationId="{40526724-AC26-4B64-8CBD-388146F21F10}"/>
          </ac:spMkLst>
        </pc:spChg>
        <pc:picChg chg="del">
          <ac:chgData name="Thomas Stensitzki" userId="75cafe6b-2f2a-469b-85c4-eec3b9c972ba" providerId="ADAL" clId="{AAD96DC6-27DA-4212-8382-67920AB94B8D}" dt="2021-08-17T08:18:35.997" v="1051" actId="478"/>
          <ac:picMkLst>
            <pc:docMk/>
            <pc:sldMk cId="2357793335" sldId="308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36.362" v="1052"/>
          <ac:picMkLst>
            <pc:docMk/>
            <pc:sldMk cId="2357793335" sldId="308"/>
            <ac:picMk id="7" creationId="{970EDB4A-71D0-4D14-8D7C-3E03C45F989C}"/>
          </ac:picMkLst>
        </pc:picChg>
      </pc:sldChg>
      <pc:sldChg chg="modSp add mod ord">
        <pc:chgData name="Thomas Stensitzki" userId="75cafe6b-2f2a-469b-85c4-eec3b9c972ba" providerId="ADAL" clId="{AAD96DC6-27DA-4212-8382-67920AB94B8D}" dt="2021-08-17T08:13:15.910" v="691" actId="6549"/>
        <pc:sldMkLst>
          <pc:docMk/>
          <pc:sldMk cId="1910973575" sldId="309"/>
        </pc:sldMkLst>
        <pc:spChg chg="mod">
          <ac:chgData name="Thomas Stensitzki" userId="75cafe6b-2f2a-469b-85c4-eec3b9c972ba" providerId="ADAL" clId="{AAD96DC6-27DA-4212-8382-67920AB94B8D}" dt="2021-08-17T08:13:12.551" v="690" actId="20577"/>
          <ac:spMkLst>
            <pc:docMk/>
            <pc:sldMk cId="1910973575" sldId="309"/>
            <ac:spMk id="5" creationId="{40526724-AC26-4B64-8CBD-388146F21F10}"/>
          </ac:spMkLst>
        </pc:spChg>
        <pc:spChg chg="mod">
          <ac:chgData name="Thomas Stensitzki" userId="75cafe6b-2f2a-469b-85c4-eec3b9c972ba" providerId="ADAL" clId="{AAD96DC6-27DA-4212-8382-67920AB94B8D}" dt="2021-08-17T08:13:15.910" v="691" actId="6549"/>
          <ac:spMkLst>
            <pc:docMk/>
            <pc:sldMk cId="1910973575" sldId="309"/>
            <ac:spMk id="6" creationId="{18D200D1-8891-428B-906E-405BAD75EB9A}"/>
          </ac:spMkLst>
        </pc:spChg>
      </pc:sldChg>
      <pc:sldChg chg="modSp add mod ord modAnim">
        <pc:chgData name="Thomas Stensitzki" userId="75cafe6b-2f2a-469b-85c4-eec3b9c972ba" providerId="ADAL" clId="{AAD96DC6-27DA-4212-8382-67920AB94B8D}" dt="2021-08-17T08:18:04.167" v="1029" actId="20577"/>
        <pc:sldMkLst>
          <pc:docMk/>
          <pc:sldMk cId="2494226421" sldId="310"/>
        </pc:sldMkLst>
        <pc:spChg chg="mod">
          <ac:chgData name="Thomas Stensitzki" userId="75cafe6b-2f2a-469b-85c4-eec3b9c972ba" providerId="ADAL" clId="{AAD96DC6-27DA-4212-8382-67920AB94B8D}" dt="2021-08-17T08:13:31.766" v="711" actId="20577"/>
          <ac:spMkLst>
            <pc:docMk/>
            <pc:sldMk cId="2494226421" sldId="310"/>
            <ac:spMk id="2" creationId="{F583E72D-6B05-443F-89A3-75655896DE97}"/>
          </ac:spMkLst>
        </pc:spChg>
        <pc:spChg chg="mod">
          <ac:chgData name="Thomas Stensitzki" userId="75cafe6b-2f2a-469b-85c4-eec3b9c972ba" providerId="ADAL" clId="{AAD96DC6-27DA-4212-8382-67920AB94B8D}" dt="2021-08-17T08:18:04.167" v="1029" actId="20577"/>
          <ac:spMkLst>
            <pc:docMk/>
            <pc:sldMk cId="2494226421" sldId="310"/>
            <ac:spMk id="3" creationId="{B256846A-016A-41DB-B7E5-DCE0DFC3EDC6}"/>
          </ac:spMkLst>
        </pc:spChg>
      </pc:sldChg>
      <pc:sldChg chg="modSp add mod ord">
        <pc:chgData name="Thomas Stensitzki" userId="75cafe6b-2f2a-469b-85c4-eec3b9c972ba" providerId="ADAL" clId="{AAD96DC6-27DA-4212-8382-67920AB94B8D}" dt="2021-08-17T08:18:32.758" v="1050" actId="1076"/>
        <pc:sldMkLst>
          <pc:docMk/>
          <pc:sldMk cId="2026421219" sldId="311"/>
        </pc:sldMkLst>
        <pc:spChg chg="mod">
          <ac:chgData name="Thomas Stensitzki" userId="75cafe6b-2f2a-469b-85c4-eec3b9c972ba" providerId="ADAL" clId="{AAD96DC6-27DA-4212-8382-67920AB94B8D}" dt="2021-08-17T08:18:27.256" v="1049" actId="20577"/>
          <ac:spMkLst>
            <pc:docMk/>
            <pc:sldMk cId="2026421219" sldId="311"/>
            <ac:spMk id="5" creationId="{40526724-AC26-4B64-8CBD-388146F21F10}"/>
          </ac:spMkLst>
        </pc:spChg>
        <pc:picChg chg="mod">
          <ac:chgData name="Thomas Stensitzki" userId="75cafe6b-2f2a-469b-85c4-eec3b9c972ba" providerId="ADAL" clId="{AAD96DC6-27DA-4212-8382-67920AB94B8D}" dt="2021-08-17T08:18:32.758" v="1050" actId="1076"/>
          <ac:picMkLst>
            <pc:docMk/>
            <pc:sldMk cId="2026421219" sldId="311"/>
            <ac:picMk id="3" creationId="{A88C536D-F7EA-4460-ADE5-9033F4ECF806}"/>
          </ac:picMkLst>
        </pc:picChg>
      </pc:sldChg>
      <pc:sldChg chg="new">
        <pc:chgData name="Thomas Stensitzki" userId="75cafe6b-2f2a-469b-85c4-eec3b9c972ba" providerId="ADAL" clId="{AAD96DC6-27DA-4212-8382-67920AB94B8D}" dt="2021-08-19T15:10:59.276" v="1069" actId="680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66462504-D8F7-48AE-B4BB-117D27FC94C7}"/>
    <pc:docChg chg="undo redo custSel addSld delSld modSld sldOrd modMainMaster modSection">
      <pc:chgData name="Thomas Stensitzki" userId="75cafe6b-2f2a-469b-85c4-eec3b9c972ba" providerId="ADAL" clId="{66462504-D8F7-48AE-B4BB-117D27FC94C7}" dt="2023-05-11T07:33:29.879" v="3554" actId="735"/>
      <pc:docMkLst>
        <pc:docMk/>
      </pc:docMkLst>
      <pc:sldChg chg="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1120448015" sldId="283"/>
        </pc:sldMkLst>
      </pc:sldChg>
      <pc:sldChg chg="modSp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2726485231" sldId="284"/>
        </pc:sldMkLst>
        <pc:spChg chg="mod">
          <ac:chgData name="Thomas Stensitzki" userId="75cafe6b-2f2a-469b-85c4-eec3b9c972ba" providerId="ADAL" clId="{66462504-D8F7-48AE-B4BB-117D27FC94C7}" dt="2023-05-05T11:07:48.631" v="1111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Sp mod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1572723851" sldId="285"/>
        </pc:sldMkLst>
        <pc:picChg chg="ord">
          <ac:chgData name="Thomas Stensitzki" userId="75cafe6b-2f2a-469b-85c4-eec3b9c972ba" providerId="ADAL" clId="{66462504-D8F7-48AE-B4BB-117D27FC94C7}" dt="2023-05-05T11:09:30.543" v="1113" actId="167"/>
          <ac:picMkLst>
            <pc:docMk/>
            <pc:sldMk cId="1572723851" sldId="285"/>
            <ac:picMk id="9" creationId="{E28B5C00-703A-466F-BCBE-63798F01D3DB}"/>
          </ac:picMkLst>
        </pc:picChg>
      </pc:sldChg>
      <pc:sldChg chg="modSp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848503523" sldId="286"/>
        </pc:sldMkLst>
        <pc:graphicFrameChg chg="mod">
          <ac:chgData name="Thomas Stensitzki" userId="75cafe6b-2f2a-469b-85c4-eec3b9c972ba" providerId="ADAL" clId="{66462504-D8F7-48AE-B4BB-117D27FC94C7}" dt="2023-04-22T12:43:27.512" v="36" actId="20577"/>
          <ac:graphicFrameMkLst>
            <pc:docMk/>
            <pc:sldMk cId="848503523" sldId="286"/>
            <ac:graphicFrameMk id="14" creationId="{F71BA354-3E66-B623-2586-C7986D89ABCF}"/>
          </ac:graphicFrameMkLst>
        </pc:graphicFrameChg>
      </pc:sldChg>
      <pc:sldChg chg="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1800322613" sldId="287"/>
        </pc:sldMkLst>
      </pc:sldChg>
      <pc:sldChg chg="modSp mod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512821701" sldId="298"/>
        </pc:sldMkLst>
        <pc:spChg chg="mod">
          <ac:chgData name="Thomas Stensitzki" userId="75cafe6b-2f2a-469b-85c4-eec3b9c972ba" providerId="ADAL" clId="{66462504-D8F7-48AE-B4BB-117D27FC94C7}" dt="2023-04-22T12:44:40.912" v="93" actId="255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66462504-D8F7-48AE-B4BB-117D27FC94C7}" dt="2023-04-22T12:44:29.823" v="92" actId="20577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612878314" sldId="299"/>
        </pc:sldMkLst>
        <pc:spChg chg="mod">
          <ac:chgData name="Thomas Stensitzki" userId="75cafe6b-2f2a-469b-85c4-eec3b9c972ba" providerId="ADAL" clId="{66462504-D8F7-48AE-B4BB-117D27FC94C7}" dt="2023-04-22T12:43:39.431" v="39" actId="20577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66462504-D8F7-48AE-B4BB-117D27FC94C7}" dt="2023-04-22T12:43:44.949" v="56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addSp modSp mod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2153189406" sldId="303"/>
        </pc:sldMkLst>
        <pc:spChg chg="mod">
          <ac:chgData name="Thomas Stensitzki" userId="75cafe6b-2f2a-469b-85c4-eec3b9c972ba" providerId="ADAL" clId="{66462504-D8F7-48AE-B4BB-117D27FC94C7}" dt="2023-05-05T11:02:28.063" v="1080" actId="1076"/>
          <ac:spMkLst>
            <pc:docMk/>
            <pc:sldMk cId="2153189406" sldId="303"/>
            <ac:spMk id="2" creationId="{A909D6B9-5D1D-1334-E19B-16654E3B8A9F}"/>
          </ac:spMkLst>
        </pc:spChg>
        <pc:spChg chg="add mod">
          <ac:chgData name="Thomas Stensitzki" userId="75cafe6b-2f2a-469b-85c4-eec3b9c972ba" providerId="ADAL" clId="{66462504-D8F7-48AE-B4BB-117D27FC94C7}" dt="2023-05-05T11:02:50.580" v="1086" actId="20577"/>
          <ac:spMkLst>
            <pc:docMk/>
            <pc:sldMk cId="2153189406" sldId="303"/>
            <ac:spMk id="6" creationId="{E13C311C-3F4C-67FA-FDC4-4F05F70E45C6}"/>
          </ac:spMkLst>
        </pc:spChg>
        <pc:grpChg chg="mod">
          <ac:chgData name="Thomas Stensitzki" userId="75cafe6b-2f2a-469b-85c4-eec3b9c972ba" providerId="ADAL" clId="{66462504-D8F7-48AE-B4BB-117D27FC94C7}" dt="2023-05-05T11:02:28.063" v="1080" actId="1076"/>
          <ac:grpSpMkLst>
            <pc:docMk/>
            <pc:sldMk cId="2153189406" sldId="303"/>
            <ac:grpSpMk id="3" creationId="{8E0B9559-706E-FFBB-92F4-73559B252874}"/>
          </ac:grpSpMkLst>
        </pc:grpChg>
        <pc:picChg chg="mod">
          <ac:chgData name="Thomas Stensitzki" userId="75cafe6b-2f2a-469b-85c4-eec3b9c972ba" providerId="ADAL" clId="{66462504-D8F7-48AE-B4BB-117D27FC94C7}" dt="2023-05-05T11:02:28.063" v="1080" actId="1076"/>
          <ac:picMkLst>
            <pc:docMk/>
            <pc:sldMk cId="2153189406" sldId="303"/>
            <ac:picMk id="1026" creationId="{29602C08-83FC-01F2-084C-BE0D3A02B898}"/>
          </ac:picMkLst>
        </pc:picChg>
      </pc:sldChg>
      <pc:sldChg chg="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3611383028" sldId="326"/>
        </pc:sldMkLst>
      </pc:sldChg>
      <pc:sldChg chg="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3415401340" sldId="327"/>
        </pc:sldMkLst>
      </pc:sldChg>
      <pc:sldChg chg="modSp mod modTransition">
        <pc:chgData name="Thomas Stensitzki" userId="75cafe6b-2f2a-469b-85c4-eec3b9c972ba" providerId="ADAL" clId="{66462504-D8F7-48AE-B4BB-117D27FC94C7}" dt="2023-05-05T12:31:30.801" v="3125"/>
        <pc:sldMkLst>
          <pc:docMk/>
          <pc:sldMk cId="3161508877" sldId="328"/>
        </pc:sldMkLst>
        <pc:spChg chg="mod">
          <ac:chgData name="Thomas Stensitzki" userId="75cafe6b-2f2a-469b-85c4-eec3b9c972ba" providerId="ADAL" clId="{66462504-D8F7-48AE-B4BB-117D27FC94C7}" dt="2023-05-05T12:31:30.801" v="3125"/>
          <ac:spMkLst>
            <pc:docMk/>
            <pc:sldMk cId="3161508877" sldId="328"/>
            <ac:spMk id="3" creationId="{EE137313-85F7-FFB8-600D-63A8E569AC24}"/>
          </ac:spMkLst>
        </pc:spChg>
      </pc:sldChg>
      <pc:sldChg chg="modSp mod modTransition modShow">
        <pc:chgData name="Thomas Stensitzki" userId="75cafe6b-2f2a-469b-85c4-eec3b9c972ba" providerId="ADAL" clId="{66462504-D8F7-48AE-B4BB-117D27FC94C7}" dt="2023-05-05T11:45:56.664" v="2380"/>
        <pc:sldMkLst>
          <pc:docMk/>
          <pc:sldMk cId="1597960128" sldId="329"/>
        </pc:sldMkLst>
        <pc:graphicFrameChg chg="mod">
          <ac:chgData name="Thomas Stensitzki" userId="75cafe6b-2f2a-469b-85c4-eec3b9c972ba" providerId="ADAL" clId="{66462504-D8F7-48AE-B4BB-117D27FC94C7}" dt="2023-04-22T12:45:08.624" v="99" actId="20577"/>
          <ac:graphicFrameMkLst>
            <pc:docMk/>
            <pc:sldMk cId="1597960128" sldId="329"/>
            <ac:graphicFrameMk id="18" creationId="{2D4E665F-BA7C-00FA-0750-36DA0DA86FB8}"/>
          </ac:graphicFrameMkLst>
        </pc:graphicFrameChg>
      </pc:sldChg>
      <pc:sldChg chg="modSp new mod modTransition">
        <pc:chgData name="Thomas Stensitzki" userId="75cafe6b-2f2a-469b-85c4-eec3b9c972ba" providerId="ADAL" clId="{66462504-D8F7-48AE-B4BB-117D27FC94C7}" dt="2023-05-09T17:25:35.484" v="3152" actId="3626"/>
        <pc:sldMkLst>
          <pc:docMk/>
          <pc:sldMk cId="413758881" sldId="330"/>
        </pc:sldMkLst>
        <pc:spChg chg="mod">
          <ac:chgData name="Thomas Stensitzki" userId="75cafe6b-2f2a-469b-85c4-eec3b9c972ba" providerId="ADAL" clId="{66462504-D8F7-48AE-B4BB-117D27FC94C7}" dt="2023-05-05T10:30:44.070" v="114" actId="20577"/>
          <ac:spMkLst>
            <pc:docMk/>
            <pc:sldMk cId="413758881" sldId="330"/>
            <ac:spMk id="2" creationId="{3E7C9A46-85AD-FF25-AC43-F3F4FCB67A15}"/>
          </ac:spMkLst>
        </pc:spChg>
        <pc:spChg chg="mod">
          <ac:chgData name="Thomas Stensitzki" userId="75cafe6b-2f2a-469b-85c4-eec3b9c972ba" providerId="ADAL" clId="{66462504-D8F7-48AE-B4BB-117D27FC94C7}" dt="2023-05-09T17:25:35.484" v="3152" actId="3626"/>
          <ac:spMkLst>
            <pc:docMk/>
            <pc:sldMk cId="413758881" sldId="330"/>
            <ac:spMk id="3" creationId="{30D9F363-E093-CC32-FA5B-9EE98CD0DD79}"/>
          </ac:spMkLst>
        </pc:spChg>
      </pc:sldChg>
      <pc:sldChg chg="addSp delSp modSp new mod modTransition modClrScheme chgLayout">
        <pc:chgData name="Thomas Stensitzki" userId="75cafe6b-2f2a-469b-85c4-eec3b9c972ba" providerId="ADAL" clId="{66462504-D8F7-48AE-B4BB-117D27FC94C7}" dt="2023-05-05T11:45:56.664" v="2380"/>
        <pc:sldMkLst>
          <pc:docMk/>
          <pc:sldMk cId="2134503178" sldId="331"/>
        </pc:sldMkLst>
        <pc:spChg chg="del mod ord">
          <ac:chgData name="Thomas Stensitzki" userId="75cafe6b-2f2a-469b-85c4-eec3b9c972ba" providerId="ADAL" clId="{66462504-D8F7-48AE-B4BB-117D27FC94C7}" dt="2023-05-05T10:31:52.846" v="165" actId="700"/>
          <ac:spMkLst>
            <pc:docMk/>
            <pc:sldMk cId="2134503178" sldId="331"/>
            <ac:spMk id="2" creationId="{89F11A8D-1F18-4EA6-B1D8-92B0DDDFD9D2}"/>
          </ac:spMkLst>
        </pc:spChg>
        <pc:spChg chg="add mod ord">
          <ac:chgData name="Thomas Stensitzki" userId="75cafe6b-2f2a-469b-85c4-eec3b9c972ba" providerId="ADAL" clId="{66462504-D8F7-48AE-B4BB-117D27FC94C7}" dt="2023-05-05T10:31:59.369" v="185" actId="20577"/>
          <ac:spMkLst>
            <pc:docMk/>
            <pc:sldMk cId="2134503178" sldId="331"/>
            <ac:spMk id="3" creationId="{032C6D86-46E4-CD78-2951-6FA45B993025}"/>
          </ac:spMkLst>
        </pc:spChg>
        <pc:spChg chg="add mod ord">
          <ac:chgData name="Thomas Stensitzki" userId="75cafe6b-2f2a-469b-85c4-eec3b9c972ba" providerId="ADAL" clId="{66462504-D8F7-48AE-B4BB-117D27FC94C7}" dt="2023-05-05T10:32:30.362" v="187" actId="20577"/>
          <ac:spMkLst>
            <pc:docMk/>
            <pc:sldMk cId="2134503178" sldId="331"/>
            <ac:spMk id="4" creationId="{988A929A-069D-8FF2-9877-CEF9ACC3E0A7}"/>
          </ac:spMkLst>
        </pc:spChg>
        <pc:spChg chg="add mod ord">
          <ac:chgData name="Thomas Stensitzki" userId="75cafe6b-2f2a-469b-85c4-eec3b9c972ba" providerId="ADAL" clId="{66462504-D8F7-48AE-B4BB-117D27FC94C7}" dt="2023-05-05T10:31:52.846" v="165" actId="700"/>
          <ac:spMkLst>
            <pc:docMk/>
            <pc:sldMk cId="2134503178" sldId="331"/>
            <ac:spMk id="5" creationId="{B7311409-58A1-BFE8-D55C-DBACAAFEB23B}"/>
          </ac:spMkLst>
        </pc:spChg>
      </pc:sldChg>
      <pc:sldChg chg="modSp new mod modTransition">
        <pc:chgData name="Thomas Stensitzki" userId="75cafe6b-2f2a-469b-85c4-eec3b9c972ba" providerId="ADAL" clId="{66462504-D8F7-48AE-B4BB-117D27FC94C7}" dt="2023-05-05T11:48:53.326" v="2533" actId="20577"/>
        <pc:sldMkLst>
          <pc:docMk/>
          <pc:sldMk cId="529961002" sldId="332"/>
        </pc:sldMkLst>
        <pc:spChg chg="mod">
          <ac:chgData name="Thomas Stensitzki" userId="75cafe6b-2f2a-469b-85c4-eec3b9c972ba" providerId="ADAL" clId="{66462504-D8F7-48AE-B4BB-117D27FC94C7}" dt="2023-05-05T10:33:06.519" v="217" actId="20577"/>
          <ac:spMkLst>
            <pc:docMk/>
            <pc:sldMk cId="529961002" sldId="332"/>
            <ac:spMk id="2" creationId="{8157F163-F02B-932E-E603-F1E8FF9E1487}"/>
          </ac:spMkLst>
        </pc:spChg>
        <pc:spChg chg="mod">
          <ac:chgData name="Thomas Stensitzki" userId="75cafe6b-2f2a-469b-85c4-eec3b9c972ba" providerId="ADAL" clId="{66462504-D8F7-48AE-B4BB-117D27FC94C7}" dt="2023-05-05T11:48:53.326" v="2533" actId="20577"/>
          <ac:spMkLst>
            <pc:docMk/>
            <pc:sldMk cId="529961002" sldId="332"/>
            <ac:spMk id="3" creationId="{C94005F8-B6FD-6A8C-0581-79CB60B2E67C}"/>
          </ac:spMkLst>
        </pc:spChg>
      </pc:sldChg>
      <pc:sldChg chg="modSp new mod modTransition modAnim">
        <pc:chgData name="Thomas Stensitzki" userId="75cafe6b-2f2a-469b-85c4-eec3b9c972ba" providerId="ADAL" clId="{66462504-D8F7-48AE-B4BB-117D27FC94C7}" dt="2023-05-05T11:50:54.803" v="2604" actId="113"/>
        <pc:sldMkLst>
          <pc:docMk/>
          <pc:sldMk cId="2162556130" sldId="333"/>
        </pc:sldMkLst>
        <pc:spChg chg="mod">
          <ac:chgData name="Thomas Stensitzki" userId="75cafe6b-2f2a-469b-85c4-eec3b9c972ba" providerId="ADAL" clId="{66462504-D8F7-48AE-B4BB-117D27FC94C7}" dt="2023-05-05T10:35:31.495" v="369" actId="20577"/>
          <ac:spMkLst>
            <pc:docMk/>
            <pc:sldMk cId="2162556130" sldId="333"/>
            <ac:spMk id="2" creationId="{860B6B11-F728-293E-A8CD-15C173A921F2}"/>
          </ac:spMkLst>
        </pc:spChg>
        <pc:spChg chg="mod">
          <ac:chgData name="Thomas Stensitzki" userId="75cafe6b-2f2a-469b-85c4-eec3b9c972ba" providerId="ADAL" clId="{66462504-D8F7-48AE-B4BB-117D27FC94C7}" dt="2023-05-05T11:50:54.803" v="2604" actId="113"/>
          <ac:spMkLst>
            <pc:docMk/>
            <pc:sldMk cId="2162556130" sldId="333"/>
            <ac:spMk id="3" creationId="{BC5A06D5-899C-AB29-C227-7E65D6C737D3}"/>
          </ac:spMkLst>
        </pc:spChg>
      </pc:sldChg>
      <pc:sldChg chg="addSp delSp modSp new mod modTransition modAnim">
        <pc:chgData name="Thomas Stensitzki" userId="75cafe6b-2f2a-469b-85c4-eec3b9c972ba" providerId="ADAL" clId="{66462504-D8F7-48AE-B4BB-117D27FC94C7}" dt="2023-05-05T11:51:40.336" v="2628" actId="20577"/>
        <pc:sldMkLst>
          <pc:docMk/>
          <pc:sldMk cId="2873363205" sldId="334"/>
        </pc:sldMkLst>
        <pc:spChg chg="mod">
          <ac:chgData name="Thomas Stensitzki" userId="75cafe6b-2f2a-469b-85c4-eec3b9c972ba" providerId="ADAL" clId="{66462504-D8F7-48AE-B4BB-117D27FC94C7}" dt="2023-05-05T11:51:40.336" v="2628" actId="20577"/>
          <ac:spMkLst>
            <pc:docMk/>
            <pc:sldMk cId="2873363205" sldId="334"/>
            <ac:spMk id="2" creationId="{5F7B9543-F2C9-9D44-346F-6AB242EC46EF}"/>
          </ac:spMkLst>
        </pc:spChg>
        <pc:spChg chg="del">
          <ac:chgData name="Thomas Stensitzki" userId="75cafe6b-2f2a-469b-85c4-eec3b9c972ba" providerId="ADAL" clId="{66462504-D8F7-48AE-B4BB-117D27FC94C7}" dt="2023-05-05T10:38:56.510" v="616" actId="478"/>
          <ac:spMkLst>
            <pc:docMk/>
            <pc:sldMk cId="2873363205" sldId="334"/>
            <ac:spMk id="3" creationId="{8839A3BF-3653-EB5F-8FD4-1AFE7B26D908}"/>
          </ac:spMkLst>
        </pc:spChg>
        <pc:spChg chg="add del mod">
          <ac:chgData name="Thomas Stensitzki" userId="75cafe6b-2f2a-469b-85c4-eec3b9c972ba" providerId="ADAL" clId="{66462504-D8F7-48AE-B4BB-117D27FC94C7}" dt="2023-05-05T10:39:20.414" v="620" actId="478"/>
          <ac:spMkLst>
            <pc:docMk/>
            <pc:sldMk cId="2873363205" sldId="334"/>
            <ac:spMk id="6" creationId="{50F24886-8622-7ED9-7F47-3CE90316D227}"/>
          </ac:spMkLst>
        </pc:spChg>
        <pc:spChg chg="add mod">
          <ac:chgData name="Thomas Stensitzki" userId="75cafe6b-2f2a-469b-85c4-eec3b9c972ba" providerId="ADAL" clId="{66462504-D8F7-48AE-B4BB-117D27FC94C7}" dt="2023-05-05T10:53:25.218" v="1009" actId="1035"/>
          <ac:spMkLst>
            <pc:docMk/>
            <pc:sldMk cId="2873363205" sldId="334"/>
            <ac:spMk id="8" creationId="{3908B4D9-BC80-D760-5542-B7E58B2B71FD}"/>
          </ac:spMkLst>
        </pc:spChg>
        <pc:graphicFrameChg chg="add mod modGraphic">
          <ac:chgData name="Thomas Stensitzki" userId="75cafe6b-2f2a-469b-85c4-eec3b9c972ba" providerId="ADAL" clId="{66462504-D8F7-48AE-B4BB-117D27FC94C7}" dt="2023-05-05T10:52:12.454" v="936" actId="207"/>
          <ac:graphicFrameMkLst>
            <pc:docMk/>
            <pc:sldMk cId="2873363205" sldId="334"/>
            <ac:graphicFrameMk id="7" creationId="{84F6A171-0863-895B-D755-568AED3C1221}"/>
          </ac:graphicFrameMkLst>
        </pc:graphicFrameChg>
      </pc:sldChg>
      <pc:sldChg chg="modSp new mod ord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1509947880" sldId="335"/>
        </pc:sldMkLst>
        <pc:spChg chg="mod">
          <ac:chgData name="Thomas Stensitzki" userId="75cafe6b-2f2a-469b-85c4-eec3b9c972ba" providerId="ADAL" clId="{66462504-D8F7-48AE-B4BB-117D27FC94C7}" dt="2023-05-05T11:24:40.895" v="1276" actId="20577"/>
          <ac:spMkLst>
            <pc:docMk/>
            <pc:sldMk cId="1509947880" sldId="335"/>
            <ac:spMk id="2" creationId="{96714BFC-6328-9B01-1AC5-1FF1667D1F05}"/>
          </ac:spMkLst>
        </pc:spChg>
        <pc:spChg chg="mod">
          <ac:chgData name="Thomas Stensitzki" userId="75cafe6b-2f2a-469b-85c4-eec3b9c972ba" providerId="ADAL" clId="{66462504-D8F7-48AE-B4BB-117D27FC94C7}" dt="2023-05-05T11:28:11.959" v="1439" actId="207"/>
          <ac:spMkLst>
            <pc:docMk/>
            <pc:sldMk cId="1509947880" sldId="335"/>
            <ac:spMk id="3" creationId="{85868040-FAB9-3612-B4E2-66B00F561511}"/>
          </ac:spMkLst>
        </pc:spChg>
      </pc:sldChg>
      <pc:sldChg chg="addSp delSp modSp new mod modTransition modClrScheme chgLayout">
        <pc:chgData name="Thomas Stensitzki" userId="75cafe6b-2f2a-469b-85c4-eec3b9c972ba" providerId="ADAL" clId="{66462504-D8F7-48AE-B4BB-117D27FC94C7}" dt="2023-05-05T12:12:38.782" v="2777" actId="11530"/>
        <pc:sldMkLst>
          <pc:docMk/>
          <pc:sldMk cId="890419751" sldId="336"/>
        </pc:sldMkLst>
        <pc:spChg chg="del mod ord">
          <ac:chgData name="Thomas Stensitzki" userId="75cafe6b-2f2a-469b-85c4-eec3b9c972ba" providerId="ADAL" clId="{66462504-D8F7-48AE-B4BB-117D27FC94C7}" dt="2023-05-05T10:53:40.798" v="1012" actId="700"/>
          <ac:spMkLst>
            <pc:docMk/>
            <pc:sldMk cId="890419751" sldId="336"/>
            <ac:spMk id="2" creationId="{3DE7EA90-AD13-513B-9EB3-9B1788BA7AB7}"/>
          </ac:spMkLst>
        </pc:spChg>
        <pc:spChg chg="del">
          <ac:chgData name="Thomas Stensitzki" userId="75cafe6b-2f2a-469b-85c4-eec3b9c972ba" providerId="ADAL" clId="{66462504-D8F7-48AE-B4BB-117D27FC94C7}" dt="2023-05-05T10:53:40.798" v="1012" actId="700"/>
          <ac:spMkLst>
            <pc:docMk/>
            <pc:sldMk cId="890419751" sldId="336"/>
            <ac:spMk id="3" creationId="{8CD02155-1414-4F8D-6F01-C73D8D7C2F3D}"/>
          </ac:spMkLst>
        </pc:spChg>
        <pc:spChg chg="del">
          <ac:chgData name="Thomas Stensitzki" userId="75cafe6b-2f2a-469b-85c4-eec3b9c972ba" providerId="ADAL" clId="{66462504-D8F7-48AE-B4BB-117D27FC94C7}" dt="2023-05-05T10:53:40.798" v="1012" actId="700"/>
          <ac:spMkLst>
            <pc:docMk/>
            <pc:sldMk cId="890419751" sldId="336"/>
            <ac:spMk id="4" creationId="{3C81C661-E12F-130B-1E28-AFED35CFE35A}"/>
          </ac:spMkLst>
        </pc:spChg>
        <pc:spChg chg="add mod ord">
          <ac:chgData name="Thomas Stensitzki" userId="75cafe6b-2f2a-469b-85c4-eec3b9c972ba" providerId="ADAL" clId="{66462504-D8F7-48AE-B4BB-117D27FC94C7}" dt="2023-05-05T10:53:50.385" v="1039" actId="20577"/>
          <ac:spMkLst>
            <pc:docMk/>
            <pc:sldMk cId="890419751" sldId="336"/>
            <ac:spMk id="5" creationId="{426FE343-3189-CD49-4272-DEE566E71F24}"/>
          </ac:spMkLst>
        </pc:spChg>
        <pc:spChg chg="add mod">
          <ac:chgData name="Thomas Stensitzki" userId="75cafe6b-2f2a-469b-85c4-eec3b9c972ba" providerId="ADAL" clId="{66462504-D8F7-48AE-B4BB-117D27FC94C7}" dt="2023-05-05T12:12:38.782" v="2777" actId="11530"/>
          <ac:spMkLst>
            <pc:docMk/>
            <pc:sldMk cId="890419751" sldId="336"/>
            <ac:spMk id="6" creationId="{4991111E-1903-314C-E4BB-F2631166EA61}"/>
          </ac:spMkLst>
        </pc:spChg>
        <pc:spChg chg="add mod">
          <ac:chgData name="Thomas Stensitzki" userId="75cafe6b-2f2a-469b-85c4-eec3b9c972ba" providerId="ADAL" clId="{66462504-D8F7-48AE-B4BB-117D27FC94C7}" dt="2023-05-05T12:12:38.782" v="2777" actId="11530"/>
          <ac:spMkLst>
            <pc:docMk/>
            <pc:sldMk cId="890419751" sldId="336"/>
            <ac:spMk id="7" creationId="{AEA5464C-AED4-E231-778B-7D30EA08D0D2}"/>
          </ac:spMkLst>
        </pc:spChg>
        <pc:spChg chg="add mod">
          <ac:chgData name="Thomas Stensitzki" userId="75cafe6b-2f2a-469b-85c4-eec3b9c972ba" providerId="ADAL" clId="{66462504-D8F7-48AE-B4BB-117D27FC94C7}" dt="2023-05-05T11:16:17.321" v="1162" actId="404"/>
          <ac:spMkLst>
            <pc:docMk/>
            <pc:sldMk cId="890419751" sldId="336"/>
            <ac:spMk id="18" creationId="{CE45CECB-3499-16AF-7FA0-DEB27C24B9DC}"/>
          </ac:spMkLst>
        </pc:spChg>
        <pc:spChg chg="add mod">
          <ac:chgData name="Thomas Stensitzki" userId="75cafe6b-2f2a-469b-85c4-eec3b9c972ba" providerId="ADAL" clId="{66462504-D8F7-48AE-B4BB-117D27FC94C7}" dt="2023-05-05T11:18:43.177" v="1200" actId="1076"/>
          <ac:spMkLst>
            <pc:docMk/>
            <pc:sldMk cId="890419751" sldId="336"/>
            <ac:spMk id="19" creationId="{C63BC604-CDFD-C6EA-AE75-9B471772152A}"/>
          </ac:spMkLst>
        </pc:spChg>
        <pc:picChg chg="add mod">
          <ac:chgData name="Thomas Stensitzki" userId="75cafe6b-2f2a-469b-85c4-eec3b9c972ba" providerId="ADAL" clId="{66462504-D8F7-48AE-B4BB-117D27FC94C7}" dt="2023-05-05T10:56:04.304" v="1077" actId="1076"/>
          <ac:picMkLst>
            <pc:docMk/>
            <pc:sldMk cId="890419751" sldId="336"/>
            <ac:picMk id="9" creationId="{A8E1D1B7-C7F6-672A-5CD3-B5EB462D5EC9}"/>
          </ac:picMkLst>
        </pc:picChg>
        <pc:picChg chg="add mod">
          <ac:chgData name="Thomas Stensitzki" userId="75cafe6b-2f2a-469b-85c4-eec3b9c972ba" providerId="ADAL" clId="{66462504-D8F7-48AE-B4BB-117D27FC94C7}" dt="2023-05-05T11:10:01.128" v="1118" actId="1076"/>
          <ac:picMkLst>
            <pc:docMk/>
            <pc:sldMk cId="890419751" sldId="336"/>
            <ac:picMk id="11" creationId="{EE25842F-9733-FA9C-E423-436D58B1F058}"/>
          </ac:picMkLst>
        </pc:picChg>
        <pc:picChg chg="add del">
          <ac:chgData name="Thomas Stensitzki" userId="75cafe6b-2f2a-469b-85c4-eec3b9c972ba" providerId="ADAL" clId="{66462504-D8F7-48AE-B4BB-117D27FC94C7}" dt="2023-05-05T11:12:20.524" v="1120" actId="22"/>
          <ac:picMkLst>
            <pc:docMk/>
            <pc:sldMk cId="890419751" sldId="336"/>
            <ac:picMk id="13" creationId="{59F876FD-9237-072A-AFC3-21823F2AB119}"/>
          </ac:picMkLst>
        </pc:picChg>
        <pc:picChg chg="add mod">
          <ac:chgData name="Thomas Stensitzki" userId="75cafe6b-2f2a-469b-85c4-eec3b9c972ba" providerId="ADAL" clId="{66462504-D8F7-48AE-B4BB-117D27FC94C7}" dt="2023-05-05T11:12:33.880" v="1122" actId="1076"/>
          <ac:picMkLst>
            <pc:docMk/>
            <pc:sldMk cId="890419751" sldId="336"/>
            <ac:picMk id="15" creationId="{A67AC89C-178E-5CC2-EE04-56CEB6D1CE10}"/>
          </ac:picMkLst>
        </pc:picChg>
        <pc:picChg chg="add mod">
          <ac:chgData name="Thomas Stensitzki" userId="75cafe6b-2f2a-469b-85c4-eec3b9c972ba" providerId="ADAL" clId="{66462504-D8F7-48AE-B4BB-117D27FC94C7}" dt="2023-05-05T11:15:36.661" v="1134" actId="1076"/>
          <ac:picMkLst>
            <pc:docMk/>
            <pc:sldMk cId="890419751" sldId="336"/>
            <ac:picMk id="17" creationId="{45BBAB6B-7923-4204-1C17-E6BEAD43450C}"/>
          </ac:picMkLst>
        </pc:picChg>
        <pc:picChg chg="add del mod">
          <ac:chgData name="Thomas Stensitzki" userId="75cafe6b-2f2a-469b-85c4-eec3b9c972ba" providerId="ADAL" clId="{66462504-D8F7-48AE-B4BB-117D27FC94C7}" dt="2023-05-05T11:15:12.734" v="1130" actId="478"/>
          <ac:picMkLst>
            <pc:docMk/>
            <pc:sldMk cId="890419751" sldId="336"/>
            <ac:picMk id="1026" creationId="{782DF8A3-32BD-6FA9-F6CD-515190FAF80B}"/>
          </ac:picMkLst>
        </pc:picChg>
        <pc:cxnChg chg="add mod">
          <ac:chgData name="Thomas Stensitzki" userId="75cafe6b-2f2a-469b-85c4-eec3b9c972ba" providerId="ADAL" clId="{66462504-D8F7-48AE-B4BB-117D27FC94C7}" dt="2023-05-05T11:19:18.763" v="1203" actId="1582"/>
          <ac:cxnSpMkLst>
            <pc:docMk/>
            <pc:sldMk cId="890419751" sldId="336"/>
            <ac:cxnSpMk id="21" creationId="{7BDCF67F-9BE1-9A1F-1ABE-BD0969E2E179}"/>
          </ac:cxnSpMkLst>
        </pc:cxnChg>
      </pc:sldChg>
      <pc:sldChg chg="addSp delSp modSp add mod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3280040201" sldId="337"/>
        </pc:sldMkLst>
        <pc:spChg chg="mod">
          <ac:chgData name="Thomas Stensitzki" userId="75cafe6b-2f2a-469b-85c4-eec3b9c972ba" providerId="ADAL" clId="{66462504-D8F7-48AE-B4BB-117D27FC94C7}" dt="2023-05-05T11:08:00.866" v="1112" actId="3626"/>
          <ac:spMkLst>
            <pc:docMk/>
            <pc:sldMk cId="3280040201" sldId="337"/>
            <ac:spMk id="6" creationId="{E13C311C-3F4C-67FA-FDC4-4F05F70E45C6}"/>
          </ac:spMkLst>
        </pc:spChg>
        <pc:spChg chg="add mod ord">
          <ac:chgData name="Thomas Stensitzki" userId="75cafe6b-2f2a-469b-85c4-eec3b9c972ba" providerId="ADAL" clId="{66462504-D8F7-48AE-B4BB-117D27FC94C7}" dt="2023-05-05T11:04:46.784" v="1096" actId="167"/>
          <ac:spMkLst>
            <pc:docMk/>
            <pc:sldMk cId="3280040201" sldId="337"/>
            <ac:spMk id="8" creationId="{D76AC5E6-C4EC-E096-0092-79C726CC7E4B}"/>
          </ac:spMkLst>
        </pc:spChg>
        <pc:grpChg chg="del">
          <ac:chgData name="Thomas Stensitzki" userId="75cafe6b-2f2a-469b-85c4-eec3b9c972ba" providerId="ADAL" clId="{66462504-D8F7-48AE-B4BB-117D27FC94C7}" dt="2023-05-05T11:03:39.139" v="1091" actId="478"/>
          <ac:grpSpMkLst>
            <pc:docMk/>
            <pc:sldMk cId="3280040201" sldId="337"/>
            <ac:grpSpMk id="3" creationId="{8E0B9559-706E-FFBB-92F4-73559B252874}"/>
          </ac:grpSpMkLst>
        </pc:grpChg>
        <pc:picChg chg="add mod">
          <ac:chgData name="Thomas Stensitzki" userId="75cafe6b-2f2a-469b-85c4-eec3b9c972ba" providerId="ADAL" clId="{66462504-D8F7-48AE-B4BB-117D27FC94C7}" dt="2023-05-05T11:04:19.177" v="1093" actId="1076"/>
          <ac:picMkLst>
            <pc:docMk/>
            <pc:sldMk cId="3280040201" sldId="337"/>
            <ac:picMk id="7" creationId="{2D799B96-DE4E-6C72-B167-F32D912992FD}"/>
          </ac:picMkLst>
        </pc:picChg>
      </pc:sldChg>
      <pc:sldChg chg="addSp modSp new mod modTransition modClrScheme chgLayout">
        <pc:chgData name="Thomas Stensitzki" userId="75cafe6b-2f2a-469b-85c4-eec3b9c972ba" providerId="ADAL" clId="{66462504-D8F7-48AE-B4BB-117D27FC94C7}" dt="2023-05-05T11:45:56.664" v="2380"/>
        <pc:sldMkLst>
          <pc:docMk/>
          <pc:sldMk cId="662271386" sldId="338"/>
        </pc:sldMkLst>
        <pc:spChg chg="mod ord">
          <ac:chgData name="Thomas Stensitzki" userId="75cafe6b-2f2a-469b-85c4-eec3b9c972ba" providerId="ADAL" clId="{66462504-D8F7-48AE-B4BB-117D27FC94C7}" dt="2023-05-05T11:28:54.435" v="1457" actId="700"/>
          <ac:spMkLst>
            <pc:docMk/>
            <pc:sldMk cId="662271386" sldId="338"/>
            <ac:spMk id="2" creationId="{16B66DCE-8BC0-4159-A055-AA1E88CF6BBE}"/>
          </ac:spMkLst>
        </pc:spChg>
        <pc:spChg chg="add mod ord">
          <ac:chgData name="Thomas Stensitzki" userId="75cafe6b-2f2a-469b-85c4-eec3b9c972ba" providerId="ADAL" clId="{66462504-D8F7-48AE-B4BB-117D27FC94C7}" dt="2023-05-05T11:29:17.051" v="1501" actId="20577"/>
          <ac:spMkLst>
            <pc:docMk/>
            <pc:sldMk cId="662271386" sldId="338"/>
            <ac:spMk id="3" creationId="{2A4E630C-05EA-11F1-2AC4-DD78FD3FCD1A}"/>
          </ac:spMkLst>
        </pc:spChg>
        <pc:spChg chg="add mod ord">
          <ac:chgData name="Thomas Stensitzki" userId="75cafe6b-2f2a-469b-85c4-eec3b9c972ba" providerId="ADAL" clId="{66462504-D8F7-48AE-B4BB-117D27FC94C7}" dt="2023-05-05T11:28:54.435" v="1457" actId="700"/>
          <ac:spMkLst>
            <pc:docMk/>
            <pc:sldMk cId="662271386" sldId="338"/>
            <ac:spMk id="4" creationId="{E3ED9B06-9EF6-FD46-483F-5C5CF285F4F8}"/>
          </ac:spMkLst>
        </pc:spChg>
        <pc:spChg chg="add mod">
          <ac:chgData name="Thomas Stensitzki" userId="75cafe6b-2f2a-469b-85c4-eec3b9c972ba" providerId="ADAL" clId="{66462504-D8F7-48AE-B4BB-117D27FC94C7}" dt="2023-05-05T11:30:54.790" v="1577" actId="20577"/>
          <ac:spMkLst>
            <pc:docMk/>
            <pc:sldMk cId="662271386" sldId="338"/>
            <ac:spMk id="5" creationId="{1DCE73A9-46F2-AFB2-9291-F49463E3D446}"/>
          </ac:spMkLst>
        </pc:spChg>
        <pc:picChg chg="add mod">
          <ac:chgData name="Thomas Stensitzki" userId="75cafe6b-2f2a-469b-85c4-eec3b9c972ba" providerId="ADAL" clId="{66462504-D8F7-48AE-B4BB-117D27FC94C7}" dt="2023-05-05T11:29:54.659" v="1506" actId="1440"/>
          <ac:picMkLst>
            <pc:docMk/>
            <pc:sldMk cId="662271386" sldId="338"/>
            <ac:picMk id="2050" creationId="{DAA10B63-C44D-95E7-CE46-FADC058DE77D}"/>
          </ac:picMkLst>
        </pc:picChg>
      </pc:sldChg>
      <pc:sldChg chg="modSp new mod modTransition">
        <pc:chgData name="Thomas Stensitzki" userId="75cafe6b-2f2a-469b-85c4-eec3b9c972ba" providerId="ADAL" clId="{66462504-D8F7-48AE-B4BB-117D27FC94C7}" dt="2023-05-05T11:45:56.664" v="2380"/>
        <pc:sldMkLst>
          <pc:docMk/>
          <pc:sldMk cId="439162561" sldId="339"/>
        </pc:sldMkLst>
        <pc:spChg chg="mod">
          <ac:chgData name="Thomas Stensitzki" userId="75cafe6b-2f2a-469b-85c4-eec3b9c972ba" providerId="ADAL" clId="{66462504-D8F7-48AE-B4BB-117D27FC94C7}" dt="2023-05-05T11:32:13.035" v="1600" actId="20577"/>
          <ac:spMkLst>
            <pc:docMk/>
            <pc:sldMk cId="439162561" sldId="339"/>
            <ac:spMk id="2" creationId="{BD236683-C291-955B-EF89-0A67DCE5FD46}"/>
          </ac:spMkLst>
        </pc:spChg>
        <pc:spChg chg="mod">
          <ac:chgData name="Thomas Stensitzki" userId="75cafe6b-2f2a-469b-85c4-eec3b9c972ba" providerId="ADAL" clId="{66462504-D8F7-48AE-B4BB-117D27FC94C7}" dt="2023-05-05T11:35:20.819" v="1649" actId="113"/>
          <ac:spMkLst>
            <pc:docMk/>
            <pc:sldMk cId="439162561" sldId="339"/>
            <ac:spMk id="3" creationId="{B7F367DB-88D2-0610-EF86-DF3A708678C6}"/>
          </ac:spMkLst>
        </pc:spChg>
      </pc:sldChg>
      <pc:sldChg chg="addSp delSp modSp add mod modTransition modAnim">
        <pc:chgData name="Thomas Stensitzki" userId="75cafe6b-2f2a-469b-85c4-eec3b9c972ba" providerId="ADAL" clId="{66462504-D8F7-48AE-B4BB-117D27FC94C7}" dt="2023-05-05T11:47:11.967" v="2390"/>
        <pc:sldMkLst>
          <pc:docMk/>
          <pc:sldMk cId="1584596358" sldId="340"/>
        </pc:sldMkLst>
        <pc:spChg chg="mod">
          <ac:chgData name="Thomas Stensitzki" userId="75cafe6b-2f2a-469b-85c4-eec3b9c972ba" providerId="ADAL" clId="{66462504-D8F7-48AE-B4BB-117D27FC94C7}" dt="2023-05-05T11:39:58.592" v="1800" actId="5793"/>
          <ac:spMkLst>
            <pc:docMk/>
            <pc:sldMk cId="1584596358" sldId="340"/>
            <ac:spMk id="3" creationId="{B7F367DB-88D2-0610-EF86-DF3A708678C6}"/>
          </ac:spMkLst>
        </pc:spChg>
        <pc:picChg chg="add del mod">
          <ac:chgData name="Thomas Stensitzki" userId="75cafe6b-2f2a-469b-85c4-eec3b9c972ba" providerId="ADAL" clId="{66462504-D8F7-48AE-B4BB-117D27FC94C7}" dt="2023-05-05T11:39:27.221" v="1715"/>
          <ac:picMkLst>
            <pc:docMk/>
            <pc:sldMk cId="1584596358" sldId="340"/>
            <ac:picMk id="6" creationId="{83805AE7-5AD2-83A7-72FE-9548EEA349C6}"/>
          </ac:picMkLst>
        </pc:picChg>
      </pc:sldChg>
      <pc:sldChg chg="modSp add del mod ord modTransition">
        <pc:chgData name="Thomas Stensitzki" userId="75cafe6b-2f2a-469b-85c4-eec3b9c972ba" providerId="ADAL" clId="{66462504-D8F7-48AE-B4BB-117D27FC94C7}" dt="2023-05-05T11:34:50.226" v="1642" actId="47"/>
        <pc:sldMkLst>
          <pc:docMk/>
          <pc:sldMk cId="4271892487" sldId="340"/>
        </pc:sldMkLst>
        <pc:spChg chg="mod">
          <ac:chgData name="Thomas Stensitzki" userId="75cafe6b-2f2a-469b-85c4-eec3b9c972ba" providerId="ADAL" clId="{66462504-D8F7-48AE-B4BB-117D27FC94C7}" dt="2023-05-05T11:34:19.020" v="1637" actId="113"/>
          <ac:spMkLst>
            <pc:docMk/>
            <pc:sldMk cId="4271892487" sldId="340"/>
            <ac:spMk id="3" creationId="{B7F367DB-88D2-0610-EF86-DF3A708678C6}"/>
          </ac:spMkLst>
        </pc:spChg>
      </pc:sldChg>
      <pc:sldChg chg="addSp delSp modSp new mod modTransition modAnim">
        <pc:chgData name="Thomas Stensitzki" userId="75cafe6b-2f2a-469b-85c4-eec3b9c972ba" providerId="ADAL" clId="{66462504-D8F7-48AE-B4BB-117D27FC94C7}" dt="2023-05-05T12:21:49.810" v="2857"/>
        <pc:sldMkLst>
          <pc:docMk/>
          <pc:sldMk cId="1555057038" sldId="341"/>
        </pc:sldMkLst>
        <pc:spChg chg="mod">
          <ac:chgData name="Thomas Stensitzki" userId="75cafe6b-2f2a-469b-85c4-eec3b9c972ba" providerId="ADAL" clId="{66462504-D8F7-48AE-B4BB-117D27FC94C7}" dt="2023-05-05T12:18:07.704" v="2816" actId="962"/>
          <ac:spMkLst>
            <pc:docMk/>
            <pc:sldMk cId="1555057038" sldId="341"/>
            <ac:spMk id="2" creationId="{A9F4E157-ED69-741D-E7A4-FE032D6EC876}"/>
          </ac:spMkLst>
        </pc:spChg>
        <pc:spChg chg="mod">
          <ac:chgData name="Thomas Stensitzki" userId="75cafe6b-2f2a-469b-85c4-eec3b9c972ba" providerId="ADAL" clId="{66462504-D8F7-48AE-B4BB-117D27FC94C7}" dt="2023-05-05T12:18:50.489" v="2843" actId="113"/>
          <ac:spMkLst>
            <pc:docMk/>
            <pc:sldMk cId="1555057038" sldId="341"/>
            <ac:spMk id="3" creationId="{425B45F0-6C59-D54F-2801-1ACFC2C84623}"/>
          </ac:spMkLst>
        </pc:spChg>
        <pc:spChg chg="mod">
          <ac:chgData name="Thomas Stensitzki" userId="75cafe6b-2f2a-469b-85c4-eec3b9c972ba" providerId="ADAL" clId="{66462504-D8F7-48AE-B4BB-117D27FC94C7}" dt="2023-05-05T12:18:43.350" v="2842" actId="20577"/>
          <ac:spMkLst>
            <pc:docMk/>
            <pc:sldMk cId="1555057038" sldId="341"/>
            <ac:spMk id="4" creationId="{5185E12C-D354-2F88-D6B4-A18C6EF3A1C0}"/>
          </ac:spMkLst>
        </pc:spChg>
        <pc:spChg chg="add mod">
          <ac:chgData name="Thomas Stensitzki" userId="75cafe6b-2f2a-469b-85c4-eec3b9c972ba" providerId="ADAL" clId="{66462504-D8F7-48AE-B4BB-117D27FC94C7}" dt="2023-05-05T12:18:07.704" v="2816" actId="962"/>
          <ac:spMkLst>
            <pc:docMk/>
            <pc:sldMk cId="1555057038" sldId="341"/>
            <ac:spMk id="5" creationId="{D19796E9-453F-536D-080A-C76A8745376F}"/>
          </ac:spMkLst>
        </pc:spChg>
        <pc:spChg chg="add mod">
          <ac:chgData name="Thomas Stensitzki" userId="75cafe6b-2f2a-469b-85c4-eec3b9c972ba" providerId="ADAL" clId="{66462504-D8F7-48AE-B4BB-117D27FC94C7}" dt="2023-05-05T12:18:07.704" v="2816" actId="962"/>
          <ac:spMkLst>
            <pc:docMk/>
            <pc:sldMk cId="1555057038" sldId="341"/>
            <ac:spMk id="7" creationId="{2A03B71D-A7FC-6779-F502-42837311B2E8}"/>
          </ac:spMkLst>
        </pc:spChg>
        <pc:spChg chg="add mod">
          <ac:chgData name="Thomas Stensitzki" userId="75cafe6b-2f2a-469b-85c4-eec3b9c972ba" providerId="ADAL" clId="{66462504-D8F7-48AE-B4BB-117D27FC94C7}" dt="2023-05-05T12:18:07.704" v="2816" actId="962"/>
          <ac:spMkLst>
            <pc:docMk/>
            <pc:sldMk cId="1555057038" sldId="341"/>
            <ac:spMk id="8" creationId="{3ADE82B9-9A95-84EC-B180-F6BF4D5323D0}"/>
          </ac:spMkLst>
        </pc:spChg>
        <pc:spChg chg="add mod">
          <ac:chgData name="Thomas Stensitzki" userId="75cafe6b-2f2a-469b-85c4-eec3b9c972ba" providerId="ADAL" clId="{66462504-D8F7-48AE-B4BB-117D27FC94C7}" dt="2023-05-05T12:18:07.704" v="2816" actId="962"/>
          <ac:spMkLst>
            <pc:docMk/>
            <pc:sldMk cId="1555057038" sldId="341"/>
            <ac:spMk id="19" creationId="{3B5BE70A-E77F-A8AF-723C-34DC4EBF8769}"/>
          </ac:spMkLst>
        </pc:spChg>
        <pc:spChg chg="add mod">
          <ac:chgData name="Thomas Stensitzki" userId="75cafe6b-2f2a-469b-85c4-eec3b9c972ba" providerId="ADAL" clId="{66462504-D8F7-48AE-B4BB-117D27FC94C7}" dt="2023-05-05T12:18:07.704" v="2816" actId="962"/>
          <ac:spMkLst>
            <pc:docMk/>
            <pc:sldMk cId="1555057038" sldId="341"/>
            <ac:spMk id="20" creationId="{88D437A0-3F2A-535F-3464-F30D8BE9F0F6}"/>
          </ac:spMkLst>
        </pc:spChg>
        <pc:spChg chg="add del mod">
          <ac:chgData name="Thomas Stensitzki" userId="75cafe6b-2f2a-469b-85c4-eec3b9c972ba" providerId="ADAL" clId="{66462504-D8F7-48AE-B4BB-117D27FC94C7}" dt="2023-05-05T12:19:30.456" v="2845" actId="478"/>
          <ac:spMkLst>
            <pc:docMk/>
            <pc:sldMk cId="1555057038" sldId="341"/>
            <ac:spMk id="21" creationId="{1C642878-AC01-DDC5-3859-F1522FC7F174}"/>
          </ac:spMkLst>
        </pc:spChg>
        <pc:spChg chg="add mod">
          <ac:chgData name="Thomas Stensitzki" userId="75cafe6b-2f2a-469b-85c4-eec3b9c972ba" providerId="ADAL" clId="{66462504-D8F7-48AE-B4BB-117D27FC94C7}" dt="2023-05-05T12:20:31.651" v="2849" actId="17032"/>
          <ac:spMkLst>
            <pc:docMk/>
            <pc:sldMk cId="1555057038" sldId="341"/>
            <ac:spMk id="30" creationId="{E04544A0-528D-5190-224E-241FB337C3D8}"/>
          </ac:spMkLst>
        </pc:spChg>
        <pc:picChg chg="add mod">
          <ac:chgData name="Thomas Stensitzki" userId="75cafe6b-2f2a-469b-85c4-eec3b9c972ba" providerId="ADAL" clId="{66462504-D8F7-48AE-B4BB-117D27FC94C7}" dt="2023-05-05T12:18:07.704" v="2816" actId="962"/>
          <ac:picMkLst>
            <pc:docMk/>
            <pc:sldMk cId="1555057038" sldId="341"/>
            <ac:picMk id="6" creationId="{08D68EDD-4761-23BF-56F2-8F1D00374E19}"/>
          </ac:picMkLst>
        </pc:picChg>
        <pc:picChg chg="add mod">
          <ac:chgData name="Thomas Stensitzki" userId="75cafe6b-2f2a-469b-85c4-eec3b9c972ba" providerId="ADAL" clId="{66462504-D8F7-48AE-B4BB-117D27FC94C7}" dt="2023-05-05T12:18:07.704" v="2816" actId="962"/>
          <ac:picMkLst>
            <pc:docMk/>
            <pc:sldMk cId="1555057038" sldId="341"/>
            <ac:picMk id="10" creationId="{96B46EDF-CD85-7122-228B-311E4C5D3863}"/>
          </ac:picMkLst>
        </pc:picChg>
        <pc:picChg chg="add mod">
          <ac:chgData name="Thomas Stensitzki" userId="75cafe6b-2f2a-469b-85c4-eec3b9c972ba" providerId="ADAL" clId="{66462504-D8F7-48AE-B4BB-117D27FC94C7}" dt="2023-05-05T12:18:07.704" v="2816" actId="962"/>
          <ac:picMkLst>
            <pc:docMk/>
            <pc:sldMk cId="1555057038" sldId="341"/>
            <ac:picMk id="12" creationId="{7B6F817F-0F24-8304-C956-AC3BF3974FA5}"/>
          </ac:picMkLst>
        </pc:picChg>
        <pc:cxnChg chg="add mod">
          <ac:chgData name="Thomas Stensitzki" userId="75cafe6b-2f2a-469b-85c4-eec3b9c972ba" providerId="ADAL" clId="{66462504-D8F7-48AE-B4BB-117D27FC94C7}" dt="2023-05-05T12:18:07.704" v="2816" actId="962"/>
          <ac:cxnSpMkLst>
            <pc:docMk/>
            <pc:sldMk cId="1555057038" sldId="341"/>
            <ac:cxnSpMk id="13" creationId="{2E56D9E1-CDCC-A1D7-8CB1-202C3EB6ED91}"/>
          </ac:cxnSpMkLst>
        </pc:cxnChg>
        <pc:cxnChg chg="add mod">
          <ac:chgData name="Thomas Stensitzki" userId="75cafe6b-2f2a-469b-85c4-eec3b9c972ba" providerId="ADAL" clId="{66462504-D8F7-48AE-B4BB-117D27FC94C7}" dt="2023-05-05T12:18:07.704" v="2816" actId="962"/>
          <ac:cxnSpMkLst>
            <pc:docMk/>
            <pc:sldMk cId="1555057038" sldId="341"/>
            <ac:cxnSpMk id="16" creationId="{CBDDF78F-B47D-327D-CA89-47B400035C0A}"/>
          </ac:cxnSpMkLst>
        </pc:cxnChg>
        <pc:cxnChg chg="add mod">
          <ac:chgData name="Thomas Stensitzki" userId="75cafe6b-2f2a-469b-85c4-eec3b9c972ba" providerId="ADAL" clId="{66462504-D8F7-48AE-B4BB-117D27FC94C7}" dt="2023-05-05T12:18:07.704" v="2816" actId="962"/>
          <ac:cxnSpMkLst>
            <pc:docMk/>
            <pc:sldMk cId="1555057038" sldId="341"/>
            <ac:cxnSpMk id="23" creationId="{CFC746D2-3B80-D089-ACC2-4B14DD8DB99D}"/>
          </ac:cxnSpMkLst>
        </pc:cxnChg>
        <pc:cxnChg chg="add mod">
          <ac:chgData name="Thomas Stensitzki" userId="75cafe6b-2f2a-469b-85c4-eec3b9c972ba" providerId="ADAL" clId="{66462504-D8F7-48AE-B4BB-117D27FC94C7}" dt="2023-05-05T12:18:07.704" v="2816" actId="962"/>
          <ac:cxnSpMkLst>
            <pc:docMk/>
            <pc:sldMk cId="1555057038" sldId="341"/>
            <ac:cxnSpMk id="24" creationId="{0B992AEE-2BBC-CB71-F90C-552D4CE3B01D}"/>
          </ac:cxnSpMkLst>
        </pc:cxnChg>
        <pc:cxnChg chg="add del mod">
          <ac:chgData name="Thomas Stensitzki" userId="75cafe6b-2f2a-469b-85c4-eec3b9c972ba" providerId="ADAL" clId="{66462504-D8F7-48AE-B4BB-117D27FC94C7}" dt="2023-05-05T12:19:32.267" v="2846" actId="478"/>
          <ac:cxnSpMkLst>
            <pc:docMk/>
            <pc:sldMk cId="1555057038" sldId="341"/>
            <ac:cxnSpMk id="27" creationId="{38F20A46-635F-136A-E854-7636046F82CC}"/>
          </ac:cxnSpMkLst>
        </pc:cxnChg>
        <pc:cxnChg chg="add mod">
          <ac:chgData name="Thomas Stensitzki" userId="75cafe6b-2f2a-469b-85c4-eec3b9c972ba" providerId="ADAL" clId="{66462504-D8F7-48AE-B4BB-117D27FC94C7}" dt="2023-05-05T12:21:27.770" v="2855" actId="693"/>
          <ac:cxnSpMkLst>
            <pc:docMk/>
            <pc:sldMk cId="1555057038" sldId="341"/>
            <ac:cxnSpMk id="31" creationId="{D7C8D976-A6E3-F8D8-0AF2-4CFAEE24BDDD}"/>
          </ac:cxnSpMkLst>
        </pc:cxnChg>
      </pc:sldChg>
      <pc:sldChg chg="modSp new mod modAnim">
        <pc:chgData name="Thomas Stensitzki" userId="75cafe6b-2f2a-469b-85c4-eec3b9c972ba" providerId="ADAL" clId="{66462504-D8F7-48AE-B4BB-117D27FC94C7}" dt="2023-05-09T17:34:33.907" v="3552" actId="14100"/>
        <pc:sldMkLst>
          <pc:docMk/>
          <pc:sldMk cId="2187053721" sldId="342"/>
        </pc:sldMkLst>
        <pc:spChg chg="mod">
          <ac:chgData name="Thomas Stensitzki" userId="75cafe6b-2f2a-469b-85c4-eec3b9c972ba" providerId="ADAL" clId="{66462504-D8F7-48AE-B4BB-117D27FC94C7}" dt="2023-05-05T11:52:35.925" v="2639" actId="20577"/>
          <ac:spMkLst>
            <pc:docMk/>
            <pc:sldMk cId="2187053721" sldId="342"/>
            <ac:spMk id="2" creationId="{017D65EF-895B-4242-AA0C-93A1076E6742}"/>
          </ac:spMkLst>
        </pc:spChg>
        <pc:spChg chg="mod">
          <ac:chgData name="Thomas Stensitzki" userId="75cafe6b-2f2a-469b-85c4-eec3b9c972ba" providerId="ADAL" clId="{66462504-D8F7-48AE-B4BB-117D27FC94C7}" dt="2023-05-09T17:34:33.907" v="3552" actId="14100"/>
          <ac:spMkLst>
            <pc:docMk/>
            <pc:sldMk cId="2187053721" sldId="342"/>
            <ac:spMk id="3" creationId="{5B91700B-F9FB-99FA-05F4-2EDF1FB26875}"/>
          </ac:spMkLst>
        </pc:spChg>
      </pc:sldChg>
      <pc:sldMasterChg chg="modSp modSldLayout">
        <pc:chgData name="Thomas Stensitzki" userId="75cafe6b-2f2a-469b-85c4-eec3b9c972ba" providerId="ADAL" clId="{66462504-D8F7-48AE-B4BB-117D27FC94C7}" dt="2023-05-11T07:33:29.879" v="3554" actId="735"/>
        <pc:sldMasterMkLst>
          <pc:docMk/>
          <pc:sldMasterMk cId="728994055" sldId="2147483696"/>
        </pc:sldMasterMkLst>
        <pc:sldLayoutChg chg="modSp">
          <pc:chgData name="Thomas Stensitzki" userId="75cafe6b-2f2a-469b-85c4-eec3b9c972ba" providerId="ADAL" clId="{66462504-D8F7-48AE-B4BB-117D27FC94C7}" dt="2023-05-11T07:33:25.980" v="3553" actId="735"/>
          <pc:sldLayoutMkLst>
            <pc:docMk/>
            <pc:sldMasterMk cId="728994055" sldId="2147483696"/>
            <pc:sldLayoutMk cId="519253448" sldId="2147483697"/>
          </pc:sldLayoutMkLst>
        </pc:sldLayoutChg>
      </pc:sldMasterChg>
    </pc:docChg>
  </pc:docChgLst>
  <pc:docChgLst>
    <pc:chgData name="Thomas Stensitzki" userId="75cafe6b-2f2a-469b-85c4-eec3b9c972ba" providerId="ADAL" clId="{9C3C9D44-F9F4-4ED0-8696-908CE9AFB290}"/>
    <pc:docChg chg="custSel modSld modMainMaster">
      <pc:chgData name="Thomas Stensitzki" userId="75cafe6b-2f2a-469b-85c4-eec3b9c972ba" providerId="ADAL" clId="{9C3C9D44-F9F4-4ED0-8696-908CE9AFB290}" dt="2023-05-13T11:30:30.441" v="35" actId="478"/>
      <pc:docMkLst>
        <pc:docMk/>
      </pc:docMkLst>
      <pc:sldChg chg="modSp mod">
        <pc:chgData name="Thomas Stensitzki" userId="75cafe6b-2f2a-469b-85c4-eec3b9c972ba" providerId="ADAL" clId="{9C3C9D44-F9F4-4ED0-8696-908CE9AFB290}" dt="2023-03-29T15:16:24.487" v="1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C3C9D44-F9F4-4ED0-8696-908CE9AFB290}" dt="2023-03-29T15:16:17.301" v="12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9C3C9D44-F9F4-4ED0-8696-908CE9AFB290}" dt="2023-03-29T15:16:24.487" v="1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223" v="5" actId="27636"/>
        <pc:sldMkLst>
          <pc:docMk/>
          <pc:sldMk cId="1120448015" sldId="283"/>
        </pc:sldMkLst>
        <pc:spChg chg="mod">
          <ac:chgData name="Thomas Stensitzki" userId="75cafe6b-2f2a-469b-85c4-eec3b9c972ba" providerId="ADAL" clId="{9C3C9D44-F9F4-4ED0-8696-908CE9AFB290}" dt="2023-03-29T15:16:01.223" v="5" actId="27636"/>
          <ac:spMkLst>
            <pc:docMk/>
            <pc:sldMk cId="1120448015" sldId="283"/>
            <ac:spMk id="8" creationId="{7753695D-B6FA-4781-8B90-054226157255}"/>
          </ac:spMkLst>
        </pc:spChg>
      </pc:sldChg>
      <pc:sldChg chg="delSp modSp mod delAnim">
        <pc:chgData name="Thomas Stensitzki" userId="75cafe6b-2f2a-469b-85c4-eec3b9c972ba" providerId="ADAL" clId="{9C3C9D44-F9F4-4ED0-8696-908CE9AFB290}" dt="2023-05-13T11:30:30.441" v="35" actId="478"/>
        <pc:sldMkLst>
          <pc:docMk/>
          <pc:sldMk cId="2726485231" sldId="284"/>
        </pc:sldMkLst>
        <pc:spChg chg="mod">
          <ac:chgData name="Thomas Stensitzki" userId="75cafe6b-2f2a-469b-85c4-eec3b9c972ba" providerId="ADAL" clId="{9C3C9D44-F9F4-4ED0-8696-908CE9AFB290}" dt="2023-03-29T15:16:01.395" v="9" actId="27636"/>
          <ac:spMkLst>
            <pc:docMk/>
            <pc:sldMk cId="2726485231" sldId="284"/>
            <ac:spMk id="3" creationId="{852D7D7E-BA81-48A9-8091-7743702661A8}"/>
          </ac:spMkLst>
        </pc:spChg>
        <pc:spChg chg="del mod">
          <ac:chgData name="Thomas Stensitzki" userId="75cafe6b-2f2a-469b-85c4-eec3b9c972ba" providerId="ADAL" clId="{9C3C9D44-F9F4-4ED0-8696-908CE9AFB290}" dt="2023-05-13T11:30:30.441" v="35" actId="478"/>
          <ac:spMkLst>
            <pc:docMk/>
            <pc:sldMk cId="2726485231" sldId="284"/>
            <ac:spMk id="5" creationId="{BFEE3B27-B07E-47D0-99D7-9C8BAD060EC2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277" v="8" actId="27636"/>
        <pc:sldMkLst>
          <pc:docMk/>
          <pc:sldMk cId="1572723851" sldId="285"/>
        </pc:sldMkLst>
        <pc:spChg chg="mod">
          <ac:chgData name="Thomas Stensitzki" userId="75cafe6b-2f2a-469b-85c4-eec3b9c972ba" providerId="ADAL" clId="{9C3C9D44-F9F4-4ED0-8696-908CE9AFB290}" dt="2023-03-29T15:16:01.277" v="8" actId="27636"/>
          <ac:spMkLst>
            <pc:docMk/>
            <pc:sldMk cId="1572723851" sldId="285"/>
            <ac:spMk id="3" creationId="{76EC1D6E-0321-4DAA-889D-F932DA5F2EF8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189" v="1" actId="27636"/>
        <pc:sldMkLst>
          <pc:docMk/>
          <pc:sldMk cId="512821701" sldId="298"/>
        </pc:sldMkLst>
        <pc:spChg chg="mod">
          <ac:chgData name="Thomas Stensitzki" userId="75cafe6b-2f2a-469b-85c4-eec3b9c972ba" providerId="ADAL" clId="{9C3C9D44-F9F4-4ED0-8696-908CE9AFB290}" dt="2023-03-29T15:16:01.189" v="1" actId="27636"/>
          <ac:spMkLst>
            <pc:docMk/>
            <pc:sldMk cId="512821701" sldId="298"/>
            <ac:spMk id="8" creationId="{7753695D-B6FA-4781-8B90-054226157255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206" v="3" actId="27636"/>
        <pc:sldMkLst>
          <pc:docMk/>
          <pc:sldMk cId="612878314" sldId="299"/>
        </pc:sldMkLst>
        <pc:spChg chg="mod">
          <ac:chgData name="Thomas Stensitzki" userId="75cafe6b-2f2a-469b-85c4-eec3b9c972ba" providerId="ADAL" clId="{9C3C9D44-F9F4-4ED0-8696-908CE9AFB290}" dt="2023-03-29T15:16:01.206" v="3" actId="27636"/>
          <ac:spMkLst>
            <pc:docMk/>
            <pc:sldMk cId="612878314" sldId="299"/>
            <ac:spMk id="8" creationId="{7753695D-B6FA-4781-8B90-054226157255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070" v="0" actId="27636"/>
        <pc:sldMkLst>
          <pc:docMk/>
          <pc:sldMk cId="2153189406" sldId="303"/>
        </pc:sldMkLst>
        <pc:spChg chg="mod">
          <ac:chgData name="Thomas Stensitzki" userId="75cafe6b-2f2a-469b-85c4-eec3b9c972ba" providerId="ADAL" clId="{9C3C9D44-F9F4-4ED0-8696-908CE9AFB290}" dt="2023-03-29T15:16:01.070" v="0" actId="27636"/>
          <ac:spMkLst>
            <pc:docMk/>
            <pc:sldMk cId="2153189406" sldId="303"/>
            <ac:spMk id="5" creationId="{D7A2D598-B3FE-4D80-9241-7F9C19D61446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197" v="2" actId="27636"/>
        <pc:sldMkLst>
          <pc:docMk/>
          <pc:sldMk cId="3611383028" sldId="326"/>
        </pc:sldMkLst>
        <pc:spChg chg="mod">
          <ac:chgData name="Thomas Stensitzki" userId="75cafe6b-2f2a-469b-85c4-eec3b9c972ba" providerId="ADAL" clId="{9C3C9D44-F9F4-4ED0-8696-908CE9AFB290}" dt="2023-03-29T15:16:01.197" v="2" actId="27636"/>
          <ac:spMkLst>
            <pc:docMk/>
            <pc:sldMk cId="3611383028" sldId="326"/>
            <ac:spMk id="9" creationId="{23B24C39-7937-90BB-66C2-90D50BD3A6B8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214" v="4" actId="27636"/>
        <pc:sldMkLst>
          <pc:docMk/>
          <pc:sldMk cId="3415401340" sldId="327"/>
        </pc:sldMkLst>
        <pc:spChg chg="mod">
          <ac:chgData name="Thomas Stensitzki" userId="75cafe6b-2f2a-469b-85c4-eec3b9c972ba" providerId="ADAL" clId="{9C3C9D44-F9F4-4ED0-8696-908CE9AFB290}" dt="2023-03-29T15:16:01.214" v="4" actId="27636"/>
          <ac:spMkLst>
            <pc:docMk/>
            <pc:sldMk cId="3415401340" sldId="327"/>
            <ac:spMk id="9" creationId="{23B24C39-7937-90BB-66C2-90D50BD3A6B8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238" v="6" actId="27636"/>
        <pc:sldMkLst>
          <pc:docMk/>
          <pc:sldMk cId="3161508877" sldId="328"/>
        </pc:sldMkLst>
        <pc:spChg chg="mod">
          <ac:chgData name="Thomas Stensitzki" userId="75cafe6b-2f2a-469b-85c4-eec3b9c972ba" providerId="ADAL" clId="{9C3C9D44-F9F4-4ED0-8696-908CE9AFB290}" dt="2023-03-29T15:16:01.238" v="6" actId="27636"/>
          <ac:spMkLst>
            <pc:docMk/>
            <pc:sldMk cId="3161508877" sldId="328"/>
            <ac:spMk id="2" creationId="{B44D7F11-0839-8D51-7B83-AABA476B20AD}"/>
          </ac:spMkLst>
        </pc:spChg>
      </pc:sldChg>
      <pc:sldChg chg="modSp mod">
        <pc:chgData name="Thomas Stensitzki" userId="75cafe6b-2f2a-469b-85c4-eec3b9c972ba" providerId="ADAL" clId="{9C3C9D44-F9F4-4ED0-8696-908CE9AFB290}" dt="2023-03-29T15:16:01.248" v="7" actId="27636"/>
        <pc:sldMkLst>
          <pc:docMk/>
          <pc:sldMk cId="1597960128" sldId="329"/>
        </pc:sldMkLst>
        <pc:spChg chg="mod">
          <ac:chgData name="Thomas Stensitzki" userId="75cafe6b-2f2a-469b-85c4-eec3b9c972ba" providerId="ADAL" clId="{9C3C9D44-F9F4-4ED0-8696-908CE9AFB290}" dt="2023-03-29T15:16:01.248" v="7" actId="27636"/>
          <ac:spMkLst>
            <pc:docMk/>
            <pc:sldMk cId="1597960128" sldId="329"/>
            <ac:spMk id="2" creationId="{4C3DFA5F-329D-3085-2853-99BFC4E751F3}"/>
          </ac:spMkLst>
        </pc:spChg>
      </pc:sldChg>
      <pc:sldChg chg="modSp mod">
        <pc:chgData name="Thomas Stensitzki" userId="75cafe6b-2f2a-469b-85c4-eec3b9c972ba" providerId="ADAL" clId="{9C3C9D44-F9F4-4ED0-8696-908CE9AFB290}" dt="2023-05-13T11:30:22.110" v="23" actId="27636"/>
        <pc:sldMkLst>
          <pc:docMk/>
          <pc:sldMk cId="413758881" sldId="330"/>
        </pc:sldMkLst>
        <pc:spChg chg="mod">
          <ac:chgData name="Thomas Stensitzki" userId="75cafe6b-2f2a-469b-85c4-eec3b9c972ba" providerId="ADAL" clId="{9C3C9D44-F9F4-4ED0-8696-908CE9AFB290}" dt="2023-05-13T11:30:22.110" v="23" actId="27636"/>
          <ac:spMkLst>
            <pc:docMk/>
            <pc:sldMk cId="413758881" sldId="330"/>
            <ac:spMk id="2" creationId="{3E7C9A46-85AD-FF25-AC43-F3F4FCB67A15}"/>
          </ac:spMkLst>
        </pc:spChg>
      </pc:sldChg>
      <pc:sldChg chg="modSp mod">
        <pc:chgData name="Thomas Stensitzki" userId="75cafe6b-2f2a-469b-85c4-eec3b9c972ba" providerId="ADAL" clId="{9C3C9D44-F9F4-4ED0-8696-908CE9AFB290}" dt="2023-05-13T11:30:23.788" v="34" actId="27636"/>
        <pc:sldMkLst>
          <pc:docMk/>
          <pc:sldMk cId="2134503178" sldId="331"/>
        </pc:sldMkLst>
        <pc:spChg chg="mod">
          <ac:chgData name="Thomas Stensitzki" userId="75cafe6b-2f2a-469b-85c4-eec3b9c972ba" providerId="ADAL" clId="{9C3C9D44-F9F4-4ED0-8696-908CE9AFB290}" dt="2023-05-13T11:30:23.788" v="34" actId="27636"/>
          <ac:spMkLst>
            <pc:docMk/>
            <pc:sldMk cId="2134503178" sldId="331"/>
            <ac:spMk id="3" creationId="{032C6D86-46E4-CD78-2951-6FA45B993025}"/>
          </ac:spMkLst>
        </pc:spChg>
      </pc:sldChg>
      <pc:sldChg chg="modSp mod">
        <pc:chgData name="Thomas Stensitzki" userId="75cafe6b-2f2a-469b-85c4-eec3b9c972ba" providerId="ADAL" clId="{9C3C9D44-F9F4-4ED0-8696-908CE9AFB290}" dt="2023-05-13T11:30:22.197" v="24" actId="27636"/>
        <pc:sldMkLst>
          <pc:docMk/>
          <pc:sldMk cId="529961002" sldId="332"/>
        </pc:sldMkLst>
        <pc:spChg chg="mod">
          <ac:chgData name="Thomas Stensitzki" userId="75cafe6b-2f2a-469b-85c4-eec3b9c972ba" providerId="ADAL" clId="{9C3C9D44-F9F4-4ED0-8696-908CE9AFB290}" dt="2023-05-13T11:30:22.197" v="24" actId="27636"/>
          <ac:spMkLst>
            <pc:docMk/>
            <pc:sldMk cId="529961002" sldId="332"/>
            <ac:spMk id="2" creationId="{8157F163-F02B-932E-E603-F1E8FF9E1487}"/>
          </ac:spMkLst>
        </pc:spChg>
      </pc:sldChg>
      <pc:sldChg chg="modSp mod">
        <pc:chgData name="Thomas Stensitzki" userId="75cafe6b-2f2a-469b-85c4-eec3b9c972ba" providerId="ADAL" clId="{9C3C9D44-F9F4-4ED0-8696-908CE9AFB290}" dt="2023-05-13T11:30:22.305" v="25" actId="27636"/>
        <pc:sldMkLst>
          <pc:docMk/>
          <pc:sldMk cId="2162556130" sldId="333"/>
        </pc:sldMkLst>
        <pc:spChg chg="mod">
          <ac:chgData name="Thomas Stensitzki" userId="75cafe6b-2f2a-469b-85c4-eec3b9c972ba" providerId="ADAL" clId="{9C3C9D44-F9F4-4ED0-8696-908CE9AFB290}" dt="2023-05-13T11:30:22.305" v="25" actId="27636"/>
          <ac:spMkLst>
            <pc:docMk/>
            <pc:sldMk cId="2162556130" sldId="333"/>
            <ac:spMk id="2" creationId="{860B6B11-F728-293E-A8CD-15C173A921F2}"/>
          </ac:spMkLst>
        </pc:spChg>
      </pc:sldChg>
      <pc:sldChg chg="modSp mod">
        <pc:chgData name="Thomas Stensitzki" userId="75cafe6b-2f2a-469b-85c4-eec3b9c972ba" providerId="ADAL" clId="{9C3C9D44-F9F4-4ED0-8696-908CE9AFB290}" dt="2023-05-13T11:30:22.457" v="26" actId="27636"/>
        <pc:sldMkLst>
          <pc:docMk/>
          <pc:sldMk cId="2873363205" sldId="334"/>
        </pc:sldMkLst>
        <pc:spChg chg="mod">
          <ac:chgData name="Thomas Stensitzki" userId="75cafe6b-2f2a-469b-85c4-eec3b9c972ba" providerId="ADAL" clId="{9C3C9D44-F9F4-4ED0-8696-908CE9AFB290}" dt="2023-05-13T11:30:22.457" v="26" actId="27636"/>
          <ac:spMkLst>
            <pc:docMk/>
            <pc:sldMk cId="2873363205" sldId="334"/>
            <ac:spMk id="2" creationId="{5F7B9543-F2C9-9D44-346F-6AB242EC46EF}"/>
          </ac:spMkLst>
        </pc:spChg>
      </pc:sldChg>
      <pc:sldChg chg="modSp mod">
        <pc:chgData name="Thomas Stensitzki" userId="75cafe6b-2f2a-469b-85c4-eec3b9c972ba" providerId="ADAL" clId="{9C3C9D44-F9F4-4ED0-8696-908CE9AFB290}" dt="2023-05-13T11:30:23.139" v="30" actId="27636"/>
        <pc:sldMkLst>
          <pc:docMk/>
          <pc:sldMk cId="1509947880" sldId="335"/>
        </pc:sldMkLst>
        <pc:spChg chg="mod">
          <ac:chgData name="Thomas Stensitzki" userId="75cafe6b-2f2a-469b-85c4-eec3b9c972ba" providerId="ADAL" clId="{9C3C9D44-F9F4-4ED0-8696-908CE9AFB290}" dt="2023-05-13T11:30:23.139" v="30" actId="27636"/>
          <ac:spMkLst>
            <pc:docMk/>
            <pc:sldMk cId="1509947880" sldId="335"/>
            <ac:spMk id="2" creationId="{96714BFC-6328-9B01-1AC5-1FF1667D1F05}"/>
          </ac:spMkLst>
        </pc:spChg>
      </pc:sldChg>
      <pc:sldChg chg="modSp mod">
        <pc:chgData name="Thomas Stensitzki" userId="75cafe6b-2f2a-469b-85c4-eec3b9c972ba" providerId="ADAL" clId="{9C3C9D44-F9F4-4ED0-8696-908CE9AFB290}" dt="2023-05-13T11:30:22.718" v="28" actId="27636"/>
        <pc:sldMkLst>
          <pc:docMk/>
          <pc:sldMk cId="890419751" sldId="336"/>
        </pc:sldMkLst>
        <pc:spChg chg="mod">
          <ac:chgData name="Thomas Stensitzki" userId="75cafe6b-2f2a-469b-85c4-eec3b9c972ba" providerId="ADAL" clId="{9C3C9D44-F9F4-4ED0-8696-908CE9AFB290}" dt="2023-05-13T11:30:22.718" v="28" actId="27636"/>
          <ac:spMkLst>
            <pc:docMk/>
            <pc:sldMk cId="890419751" sldId="336"/>
            <ac:spMk id="5" creationId="{426FE343-3189-CD49-4272-DEE566E71F24}"/>
          </ac:spMkLst>
        </pc:spChg>
      </pc:sldChg>
      <pc:sldChg chg="modSp mod">
        <pc:chgData name="Thomas Stensitzki" userId="75cafe6b-2f2a-469b-85c4-eec3b9c972ba" providerId="ADAL" clId="{9C3C9D44-F9F4-4ED0-8696-908CE9AFB290}" dt="2023-05-13T11:30:22.793" v="29" actId="27636"/>
        <pc:sldMkLst>
          <pc:docMk/>
          <pc:sldMk cId="662271386" sldId="338"/>
        </pc:sldMkLst>
        <pc:spChg chg="mod">
          <ac:chgData name="Thomas Stensitzki" userId="75cafe6b-2f2a-469b-85c4-eec3b9c972ba" providerId="ADAL" clId="{9C3C9D44-F9F4-4ED0-8696-908CE9AFB290}" dt="2023-05-13T11:30:22.793" v="29" actId="27636"/>
          <ac:spMkLst>
            <pc:docMk/>
            <pc:sldMk cId="662271386" sldId="338"/>
            <ac:spMk id="2" creationId="{16B66DCE-8BC0-4159-A055-AA1E88CF6BBE}"/>
          </ac:spMkLst>
        </pc:spChg>
      </pc:sldChg>
      <pc:sldChg chg="modSp mod">
        <pc:chgData name="Thomas Stensitzki" userId="75cafe6b-2f2a-469b-85c4-eec3b9c972ba" providerId="ADAL" clId="{9C3C9D44-F9F4-4ED0-8696-908CE9AFB290}" dt="2023-05-13T11:30:23.407" v="32" actId="27636"/>
        <pc:sldMkLst>
          <pc:docMk/>
          <pc:sldMk cId="439162561" sldId="339"/>
        </pc:sldMkLst>
        <pc:spChg chg="mod">
          <ac:chgData name="Thomas Stensitzki" userId="75cafe6b-2f2a-469b-85c4-eec3b9c972ba" providerId="ADAL" clId="{9C3C9D44-F9F4-4ED0-8696-908CE9AFB290}" dt="2023-05-13T11:30:23.407" v="32" actId="27636"/>
          <ac:spMkLst>
            <pc:docMk/>
            <pc:sldMk cId="439162561" sldId="339"/>
            <ac:spMk id="2" creationId="{BD236683-C291-955B-EF89-0A67DCE5FD46}"/>
          </ac:spMkLst>
        </pc:spChg>
      </pc:sldChg>
      <pc:sldChg chg="modSp mod">
        <pc:chgData name="Thomas Stensitzki" userId="75cafe6b-2f2a-469b-85c4-eec3b9c972ba" providerId="ADAL" clId="{9C3C9D44-F9F4-4ED0-8696-908CE9AFB290}" dt="2023-05-13T11:30:23.613" v="33" actId="27636"/>
        <pc:sldMkLst>
          <pc:docMk/>
          <pc:sldMk cId="1584596358" sldId="340"/>
        </pc:sldMkLst>
        <pc:spChg chg="mod">
          <ac:chgData name="Thomas Stensitzki" userId="75cafe6b-2f2a-469b-85c4-eec3b9c972ba" providerId="ADAL" clId="{9C3C9D44-F9F4-4ED0-8696-908CE9AFB290}" dt="2023-05-13T11:30:23.613" v="33" actId="27636"/>
          <ac:spMkLst>
            <pc:docMk/>
            <pc:sldMk cId="1584596358" sldId="340"/>
            <ac:spMk id="2" creationId="{BD236683-C291-955B-EF89-0A67DCE5FD46}"/>
          </ac:spMkLst>
        </pc:spChg>
      </pc:sldChg>
      <pc:sldChg chg="modSp mod">
        <pc:chgData name="Thomas Stensitzki" userId="75cafe6b-2f2a-469b-85c4-eec3b9c972ba" providerId="ADAL" clId="{9C3C9D44-F9F4-4ED0-8696-908CE9AFB290}" dt="2023-05-13T11:30:23.188" v="31" actId="27636"/>
        <pc:sldMkLst>
          <pc:docMk/>
          <pc:sldMk cId="1555057038" sldId="341"/>
        </pc:sldMkLst>
        <pc:spChg chg="mod">
          <ac:chgData name="Thomas Stensitzki" userId="75cafe6b-2f2a-469b-85c4-eec3b9c972ba" providerId="ADAL" clId="{9C3C9D44-F9F4-4ED0-8696-908CE9AFB290}" dt="2023-05-13T11:30:23.188" v="31" actId="27636"/>
          <ac:spMkLst>
            <pc:docMk/>
            <pc:sldMk cId="1555057038" sldId="341"/>
            <ac:spMk id="2" creationId="{A9F4E157-ED69-741D-E7A4-FE032D6EC876}"/>
          </ac:spMkLst>
        </pc:spChg>
      </pc:sldChg>
      <pc:sldChg chg="modSp mod">
        <pc:chgData name="Thomas Stensitzki" userId="75cafe6b-2f2a-469b-85c4-eec3b9c972ba" providerId="ADAL" clId="{9C3C9D44-F9F4-4ED0-8696-908CE9AFB290}" dt="2023-05-13T11:30:22.669" v="27" actId="27636"/>
        <pc:sldMkLst>
          <pc:docMk/>
          <pc:sldMk cId="2187053721" sldId="342"/>
        </pc:sldMkLst>
        <pc:spChg chg="mod">
          <ac:chgData name="Thomas Stensitzki" userId="75cafe6b-2f2a-469b-85c4-eec3b9c972ba" providerId="ADAL" clId="{9C3C9D44-F9F4-4ED0-8696-908CE9AFB290}" dt="2023-05-13T11:30:22.669" v="27" actId="27636"/>
          <ac:spMkLst>
            <pc:docMk/>
            <pc:sldMk cId="2187053721" sldId="342"/>
            <ac:spMk id="2" creationId="{017D65EF-895B-4242-AA0C-93A1076E6742}"/>
          </ac:spMkLst>
        </pc:spChg>
      </pc:sldChg>
      <pc:sldMasterChg chg="addSldLayout delSldLayout modSldLayout">
        <pc:chgData name="Thomas Stensitzki" userId="75cafe6b-2f2a-469b-85c4-eec3b9c972ba" providerId="ADAL" clId="{9C3C9D44-F9F4-4ED0-8696-908CE9AFB290}" dt="2023-05-13T11:25:51.396" v="21" actId="2696"/>
        <pc:sldMasterMkLst>
          <pc:docMk/>
          <pc:sldMasterMk cId="728994055" sldId="2147483696"/>
        </pc:sldMasterMkLst>
        <pc:sldLayoutChg chg="add del mod modTransition">
          <pc:chgData name="Thomas Stensitzki" userId="75cafe6b-2f2a-469b-85c4-eec3b9c972ba" providerId="ADAL" clId="{9C3C9D44-F9F4-4ED0-8696-908CE9AFB290}" dt="2023-05-13T11:25:51.396" v="21" actId="2696"/>
          <pc:sldLayoutMkLst>
            <pc:docMk/>
            <pc:sldMasterMk cId="728994055" sldId="2147483696"/>
            <pc:sldLayoutMk cId="4224520334" sldId="2147483704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F557A1-39EB-4018-8DF8-828D0CDA9C3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1363E7A-033A-4501-9D76-CCB7DBD5CCBA}">
      <dgm:prSet/>
      <dgm:spPr/>
      <dgm:t>
        <a:bodyPr/>
        <a:lstStyle/>
        <a:p>
          <a:r>
            <a:rPr lang="de-DE" dirty="0"/>
            <a:t>Microsoft 365 Gruppen – Was ist das und warum braucht man sie? </a:t>
          </a:r>
          <a:br>
            <a:rPr lang="en-US" dirty="0"/>
          </a:br>
          <a:r>
            <a:rPr lang="en-US" dirty="0"/>
            <a:t>- </a:t>
          </a:r>
          <a:r>
            <a:rPr lang="en-US" i="1" dirty="0"/>
            <a:t>Thomas Stensitzki</a:t>
          </a:r>
          <a:br>
            <a:rPr lang="de-DE" i="1" dirty="0"/>
          </a:br>
          <a:endParaRPr lang="en-US" dirty="0"/>
        </a:p>
      </dgm:t>
    </dgm:pt>
    <dgm:pt modelId="{026D346F-701F-4A29-A3EB-94BAC631335F}" type="parTrans" cxnId="{B50F3FF9-4847-4D77-9902-029899F84BBB}">
      <dgm:prSet/>
      <dgm:spPr/>
      <dgm:t>
        <a:bodyPr/>
        <a:lstStyle/>
        <a:p>
          <a:endParaRPr lang="en-US"/>
        </a:p>
      </dgm:t>
    </dgm:pt>
    <dgm:pt modelId="{39250615-83F3-4F43-A4D6-1CCA27E3C726}" type="sibTrans" cxnId="{B50F3FF9-4847-4D77-9902-029899F84BBB}">
      <dgm:prSet/>
      <dgm:spPr/>
      <dgm:t>
        <a:bodyPr/>
        <a:lstStyle/>
        <a:p>
          <a:endParaRPr lang="en-US"/>
        </a:p>
      </dgm:t>
    </dgm:pt>
    <dgm:pt modelId="{7C424B95-4D28-4953-A7D7-DE92E59091A5}">
      <dgm:prSet/>
      <dgm:spPr/>
      <dgm:t>
        <a:bodyPr/>
        <a:lstStyle/>
        <a:p>
          <a:r>
            <a:rPr lang="de-DE" dirty="0"/>
            <a:t>Exchange Online Blockierung veralteter Exchange Server</a:t>
          </a:r>
          <a:br>
            <a:rPr lang="en-US" dirty="0"/>
          </a:br>
          <a:r>
            <a:rPr lang="en-US" dirty="0"/>
            <a:t>- </a:t>
          </a:r>
          <a:r>
            <a:rPr lang="en-US" i="1" dirty="0"/>
            <a:t>Thomas Stensitzki</a:t>
          </a:r>
          <a:endParaRPr lang="en-US" dirty="0"/>
        </a:p>
      </dgm:t>
    </dgm:pt>
    <dgm:pt modelId="{D346CB86-EE33-4CEA-9A87-BB3A58BB7BF1}" type="parTrans" cxnId="{51020E01-AECF-4DC0-BE5A-051E1A8029B2}">
      <dgm:prSet/>
      <dgm:spPr/>
      <dgm:t>
        <a:bodyPr/>
        <a:lstStyle/>
        <a:p>
          <a:endParaRPr lang="en-US"/>
        </a:p>
      </dgm:t>
    </dgm:pt>
    <dgm:pt modelId="{CFA68B22-ABD9-495C-83B6-5B8198054750}" type="sibTrans" cxnId="{51020E01-AECF-4DC0-BE5A-051E1A8029B2}">
      <dgm:prSet/>
      <dgm:spPr/>
      <dgm:t>
        <a:bodyPr/>
        <a:lstStyle/>
        <a:p>
          <a:endParaRPr lang="en-US"/>
        </a:p>
      </dgm:t>
    </dgm:pt>
    <dgm:pt modelId="{6673D5D7-423A-49FE-B98B-91B975CB7C2A}">
      <dgm:prSet/>
      <dgm:spPr/>
      <dgm:t>
        <a:bodyPr/>
        <a:lstStyle/>
        <a:p>
          <a:r>
            <a:rPr lang="en-US" dirty="0"/>
            <a:t>Exchange Q &amp; A</a:t>
          </a:r>
          <a:br>
            <a:rPr lang="de-DE" dirty="0"/>
          </a:br>
          <a:endParaRPr lang="en-US" dirty="0"/>
        </a:p>
      </dgm:t>
    </dgm:pt>
    <dgm:pt modelId="{3DE1F48C-3260-49F8-99C9-46A7EDEC0529}" type="parTrans" cxnId="{B21D9520-742B-49A5-BA49-4716E1C0E6C9}">
      <dgm:prSet/>
      <dgm:spPr/>
      <dgm:t>
        <a:bodyPr/>
        <a:lstStyle/>
        <a:p>
          <a:endParaRPr lang="en-US"/>
        </a:p>
      </dgm:t>
    </dgm:pt>
    <dgm:pt modelId="{2CBE5B29-2F9C-4435-BA7B-896617FB3503}" type="sibTrans" cxnId="{B21D9520-742B-49A5-BA49-4716E1C0E6C9}">
      <dgm:prSet/>
      <dgm:spPr/>
      <dgm:t>
        <a:bodyPr/>
        <a:lstStyle/>
        <a:p>
          <a:endParaRPr lang="en-US"/>
        </a:p>
      </dgm:t>
    </dgm:pt>
    <dgm:pt modelId="{459FD108-17C2-412D-A15E-98EF31F6C78B}" type="pres">
      <dgm:prSet presAssocID="{BAF557A1-39EB-4018-8DF8-828D0CDA9C35}" presName="vert0" presStyleCnt="0">
        <dgm:presLayoutVars>
          <dgm:dir/>
          <dgm:animOne val="branch"/>
          <dgm:animLvl val="lvl"/>
        </dgm:presLayoutVars>
      </dgm:prSet>
      <dgm:spPr/>
    </dgm:pt>
    <dgm:pt modelId="{46FAE939-6EEA-4D50-91B1-2D40C4E6ED94}" type="pres">
      <dgm:prSet presAssocID="{B1363E7A-033A-4501-9D76-CCB7DBD5CCBA}" presName="thickLine" presStyleLbl="alignNode1" presStyleIdx="0" presStyleCnt="3"/>
      <dgm:spPr/>
    </dgm:pt>
    <dgm:pt modelId="{D76E59F0-13DC-40DD-9181-1E0D61B24B1F}" type="pres">
      <dgm:prSet presAssocID="{B1363E7A-033A-4501-9D76-CCB7DBD5CCBA}" presName="horz1" presStyleCnt="0"/>
      <dgm:spPr/>
    </dgm:pt>
    <dgm:pt modelId="{E939E8E3-0026-4379-BE06-6F0F212E9686}" type="pres">
      <dgm:prSet presAssocID="{B1363E7A-033A-4501-9D76-CCB7DBD5CCBA}" presName="tx1" presStyleLbl="revTx" presStyleIdx="0" presStyleCnt="3"/>
      <dgm:spPr/>
    </dgm:pt>
    <dgm:pt modelId="{88DBAF8F-F005-427B-A6BC-5CDDBD67478A}" type="pres">
      <dgm:prSet presAssocID="{B1363E7A-033A-4501-9D76-CCB7DBD5CCBA}" presName="vert1" presStyleCnt="0"/>
      <dgm:spPr/>
    </dgm:pt>
    <dgm:pt modelId="{58309249-398D-4CB0-ABBB-1CDA7AB4308D}" type="pres">
      <dgm:prSet presAssocID="{7C424B95-4D28-4953-A7D7-DE92E59091A5}" presName="thickLine" presStyleLbl="alignNode1" presStyleIdx="1" presStyleCnt="3"/>
      <dgm:spPr/>
    </dgm:pt>
    <dgm:pt modelId="{2EB18927-4416-4F3F-B560-F8E7696D81F9}" type="pres">
      <dgm:prSet presAssocID="{7C424B95-4D28-4953-A7D7-DE92E59091A5}" presName="horz1" presStyleCnt="0"/>
      <dgm:spPr/>
    </dgm:pt>
    <dgm:pt modelId="{0AFA17C3-BBE7-4CEC-B0CE-8EBFF4F4A366}" type="pres">
      <dgm:prSet presAssocID="{7C424B95-4D28-4953-A7D7-DE92E59091A5}" presName="tx1" presStyleLbl="revTx" presStyleIdx="1" presStyleCnt="3"/>
      <dgm:spPr/>
    </dgm:pt>
    <dgm:pt modelId="{4A52E7F4-864C-4217-8B1C-A8D48F5302F0}" type="pres">
      <dgm:prSet presAssocID="{7C424B95-4D28-4953-A7D7-DE92E59091A5}" presName="vert1" presStyleCnt="0"/>
      <dgm:spPr/>
    </dgm:pt>
    <dgm:pt modelId="{E4C4EFCD-42E5-4D52-8081-E09F83C40188}" type="pres">
      <dgm:prSet presAssocID="{6673D5D7-423A-49FE-B98B-91B975CB7C2A}" presName="thickLine" presStyleLbl="alignNode1" presStyleIdx="2" presStyleCnt="3"/>
      <dgm:spPr/>
    </dgm:pt>
    <dgm:pt modelId="{49E2F444-57C5-4098-9978-BC12E52D6B87}" type="pres">
      <dgm:prSet presAssocID="{6673D5D7-423A-49FE-B98B-91B975CB7C2A}" presName="horz1" presStyleCnt="0"/>
      <dgm:spPr/>
    </dgm:pt>
    <dgm:pt modelId="{8E6C742C-E9A1-4862-8D45-9920CEA60C30}" type="pres">
      <dgm:prSet presAssocID="{6673D5D7-423A-49FE-B98B-91B975CB7C2A}" presName="tx1" presStyleLbl="revTx" presStyleIdx="2" presStyleCnt="3"/>
      <dgm:spPr/>
    </dgm:pt>
    <dgm:pt modelId="{848D0F49-8D31-4C52-8A34-A760C0676239}" type="pres">
      <dgm:prSet presAssocID="{6673D5D7-423A-49FE-B98B-91B975CB7C2A}" presName="vert1" presStyleCnt="0"/>
      <dgm:spPr/>
    </dgm:pt>
  </dgm:ptLst>
  <dgm:cxnLst>
    <dgm:cxn modelId="{51020E01-AECF-4DC0-BE5A-051E1A8029B2}" srcId="{BAF557A1-39EB-4018-8DF8-828D0CDA9C35}" destId="{7C424B95-4D28-4953-A7D7-DE92E59091A5}" srcOrd="1" destOrd="0" parTransId="{D346CB86-EE33-4CEA-9A87-BB3A58BB7BF1}" sibTransId="{CFA68B22-ABD9-495C-83B6-5B8198054750}"/>
    <dgm:cxn modelId="{AE267A11-B90A-447A-9B2D-A86B0B611311}" type="presOf" srcId="{6673D5D7-423A-49FE-B98B-91B975CB7C2A}" destId="{8E6C742C-E9A1-4862-8D45-9920CEA60C30}" srcOrd="0" destOrd="0" presId="urn:microsoft.com/office/officeart/2008/layout/LinedList"/>
    <dgm:cxn modelId="{B21D9520-742B-49A5-BA49-4716E1C0E6C9}" srcId="{BAF557A1-39EB-4018-8DF8-828D0CDA9C35}" destId="{6673D5D7-423A-49FE-B98B-91B975CB7C2A}" srcOrd="2" destOrd="0" parTransId="{3DE1F48C-3260-49F8-99C9-46A7EDEC0529}" sibTransId="{2CBE5B29-2F9C-4435-BA7B-896617FB3503}"/>
    <dgm:cxn modelId="{5A899866-25E4-4C5C-84A9-A877A70C2B24}" type="presOf" srcId="{B1363E7A-033A-4501-9D76-CCB7DBD5CCBA}" destId="{E939E8E3-0026-4379-BE06-6F0F212E9686}" srcOrd="0" destOrd="0" presId="urn:microsoft.com/office/officeart/2008/layout/LinedList"/>
    <dgm:cxn modelId="{01C4A19F-41EE-47E8-A376-C0AC8F4571C2}" type="presOf" srcId="{7C424B95-4D28-4953-A7D7-DE92E59091A5}" destId="{0AFA17C3-BBE7-4CEC-B0CE-8EBFF4F4A366}" srcOrd="0" destOrd="0" presId="urn:microsoft.com/office/officeart/2008/layout/LinedList"/>
    <dgm:cxn modelId="{E6863CF3-4CF9-4BC7-BFB1-5F415F8DCD50}" type="presOf" srcId="{BAF557A1-39EB-4018-8DF8-828D0CDA9C35}" destId="{459FD108-17C2-412D-A15E-98EF31F6C78B}" srcOrd="0" destOrd="0" presId="urn:microsoft.com/office/officeart/2008/layout/LinedList"/>
    <dgm:cxn modelId="{B50F3FF9-4847-4D77-9902-029899F84BBB}" srcId="{BAF557A1-39EB-4018-8DF8-828D0CDA9C35}" destId="{B1363E7A-033A-4501-9D76-CCB7DBD5CCBA}" srcOrd="0" destOrd="0" parTransId="{026D346F-701F-4A29-A3EB-94BAC631335F}" sibTransId="{39250615-83F3-4F43-A4D6-1CCA27E3C726}"/>
    <dgm:cxn modelId="{A8E6AC9D-2943-45AE-8466-9AC494D562B2}" type="presParOf" srcId="{459FD108-17C2-412D-A15E-98EF31F6C78B}" destId="{46FAE939-6EEA-4D50-91B1-2D40C4E6ED94}" srcOrd="0" destOrd="0" presId="urn:microsoft.com/office/officeart/2008/layout/LinedList"/>
    <dgm:cxn modelId="{4196143A-92CC-48AC-A620-B70DF46F026B}" type="presParOf" srcId="{459FD108-17C2-412D-A15E-98EF31F6C78B}" destId="{D76E59F0-13DC-40DD-9181-1E0D61B24B1F}" srcOrd="1" destOrd="0" presId="urn:microsoft.com/office/officeart/2008/layout/LinedList"/>
    <dgm:cxn modelId="{AFDB016F-B975-47C4-8AA2-667829BB451F}" type="presParOf" srcId="{D76E59F0-13DC-40DD-9181-1E0D61B24B1F}" destId="{E939E8E3-0026-4379-BE06-6F0F212E9686}" srcOrd="0" destOrd="0" presId="urn:microsoft.com/office/officeart/2008/layout/LinedList"/>
    <dgm:cxn modelId="{260A22ED-AD17-4574-92AA-0E2E8CE3B839}" type="presParOf" srcId="{D76E59F0-13DC-40DD-9181-1E0D61B24B1F}" destId="{88DBAF8F-F005-427B-A6BC-5CDDBD67478A}" srcOrd="1" destOrd="0" presId="urn:microsoft.com/office/officeart/2008/layout/LinedList"/>
    <dgm:cxn modelId="{17E3B70D-4266-42F5-B237-12E8D6299422}" type="presParOf" srcId="{459FD108-17C2-412D-A15E-98EF31F6C78B}" destId="{58309249-398D-4CB0-ABBB-1CDA7AB4308D}" srcOrd="2" destOrd="0" presId="urn:microsoft.com/office/officeart/2008/layout/LinedList"/>
    <dgm:cxn modelId="{69640F85-A487-4BB3-88E3-714ABF1A4B7A}" type="presParOf" srcId="{459FD108-17C2-412D-A15E-98EF31F6C78B}" destId="{2EB18927-4416-4F3F-B560-F8E7696D81F9}" srcOrd="3" destOrd="0" presId="urn:microsoft.com/office/officeart/2008/layout/LinedList"/>
    <dgm:cxn modelId="{E2A96D73-F508-43FC-9D88-118D73ECEEE5}" type="presParOf" srcId="{2EB18927-4416-4F3F-B560-F8E7696D81F9}" destId="{0AFA17C3-BBE7-4CEC-B0CE-8EBFF4F4A366}" srcOrd="0" destOrd="0" presId="urn:microsoft.com/office/officeart/2008/layout/LinedList"/>
    <dgm:cxn modelId="{2D010C5B-8847-475A-9DED-5775288F8FF6}" type="presParOf" srcId="{2EB18927-4416-4F3F-B560-F8E7696D81F9}" destId="{4A52E7F4-864C-4217-8B1C-A8D48F5302F0}" srcOrd="1" destOrd="0" presId="urn:microsoft.com/office/officeart/2008/layout/LinedList"/>
    <dgm:cxn modelId="{62C17D5B-E425-40BB-B679-7529C261F6A8}" type="presParOf" srcId="{459FD108-17C2-412D-A15E-98EF31F6C78B}" destId="{E4C4EFCD-42E5-4D52-8081-E09F83C40188}" srcOrd="4" destOrd="0" presId="urn:microsoft.com/office/officeart/2008/layout/LinedList"/>
    <dgm:cxn modelId="{398AE5DA-5197-4524-AB0C-257CE449E5C6}" type="presParOf" srcId="{459FD108-17C2-412D-A15E-98EF31F6C78B}" destId="{49E2F444-57C5-4098-9978-BC12E52D6B87}" srcOrd="5" destOrd="0" presId="urn:microsoft.com/office/officeart/2008/layout/LinedList"/>
    <dgm:cxn modelId="{5545360B-020C-4780-9118-2F437942201C}" type="presParOf" srcId="{49E2F444-57C5-4098-9978-BC12E52D6B87}" destId="{8E6C742C-E9A1-4862-8D45-9920CEA60C30}" srcOrd="0" destOrd="0" presId="urn:microsoft.com/office/officeart/2008/layout/LinedList"/>
    <dgm:cxn modelId="{F511B404-0307-4D82-BE77-F0694DBE48D6}" type="presParOf" srcId="{49E2F444-57C5-4098-9978-BC12E52D6B87}" destId="{848D0F49-8D31-4C52-8A34-A760C067623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C09DD83-9CD6-4761-9FF6-063D6FFB4B40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0290112-9B11-454A-A1C5-F2FB18318EE6}">
      <dgm:prSet/>
      <dgm:spPr/>
      <dgm:t>
        <a:bodyPr/>
        <a:lstStyle/>
        <a:p>
          <a:r>
            <a:rPr lang="de-DE"/>
            <a:t>Exchange User Group neu gedacht</a:t>
          </a:r>
          <a:endParaRPr lang="en-US" dirty="0"/>
        </a:p>
      </dgm:t>
    </dgm:pt>
    <dgm:pt modelId="{FCFBA5F8-F990-4303-B918-E66673765C98}" type="parTrans" cxnId="{FD040279-ED3E-4B67-A35C-BC9FBCC50F3E}">
      <dgm:prSet/>
      <dgm:spPr/>
      <dgm:t>
        <a:bodyPr/>
        <a:lstStyle/>
        <a:p>
          <a:endParaRPr lang="en-US"/>
        </a:p>
      </dgm:t>
    </dgm:pt>
    <dgm:pt modelId="{B8AD8808-E836-4D41-AC68-FCEFF44ADE9D}" type="sibTrans" cxnId="{FD040279-ED3E-4B67-A35C-BC9FBCC50F3E}">
      <dgm:prSet/>
      <dgm:spPr/>
      <dgm:t>
        <a:bodyPr/>
        <a:lstStyle/>
        <a:p>
          <a:endParaRPr lang="en-US"/>
        </a:p>
      </dgm:t>
    </dgm:pt>
    <dgm:pt modelId="{49A2710C-AE8B-4DB2-AA1A-F67268463827}">
      <dgm:prSet/>
      <dgm:spPr/>
      <dgm:t>
        <a:bodyPr/>
        <a:lstStyle/>
        <a:p>
          <a:r>
            <a:rPr lang="de-DE" dirty="0"/>
            <a:t>Lokale Meetup-Treffen mit Hybrid</a:t>
          </a:r>
          <a:endParaRPr lang="en-US" dirty="0"/>
        </a:p>
      </dgm:t>
    </dgm:pt>
    <dgm:pt modelId="{FE5AEC51-C3DC-40F5-9D71-05E92E4B28E2}" type="parTrans" cxnId="{A95244B9-7105-464A-A59C-62F440C42A88}">
      <dgm:prSet/>
      <dgm:spPr/>
      <dgm:t>
        <a:bodyPr/>
        <a:lstStyle/>
        <a:p>
          <a:endParaRPr lang="en-US"/>
        </a:p>
      </dgm:t>
    </dgm:pt>
    <dgm:pt modelId="{CC2BD297-B406-44D8-B1DE-7F7872E6C0A5}" type="sibTrans" cxnId="{A95244B9-7105-464A-A59C-62F440C42A88}">
      <dgm:prSet/>
      <dgm:spPr/>
      <dgm:t>
        <a:bodyPr/>
        <a:lstStyle/>
        <a:p>
          <a:endParaRPr lang="en-US"/>
        </a:p>
      </dgm:t>
    </dgm:pt>
    <dgm:pt modelId="{59E10B02-D324-4822-BE0E-B8732F370611}">
      <dgm:prSet/>
      <dgm:spPr/>
      <dgm:t>
        <a:bodyPr/>
        <a:lstStyle/>
        <a:p>
          <a:r>
            <a:rPr lang="de-DE"/>
            <a:t>Termine 2023 (Planung)</a:t>
          </a:r>
          <a:endParaRPr lang="en-US"/>
        </a:p>
      </dgm:t>
    </dgm:pt>
    <dgm:pt modelId="{83D7E415-F611-488B-B548-BE3609A5D03D}" type="parTrans" cxnId="{94E8BFB4-86A6-49CD-BD97-0339C04D31FC}">
      <dgm:prSet/>
      <dgm:spPr/>
      <dgm:t>
        <a:bodyPr/>
        <a:lstStyle/>
        <a:p>
          <a:endParaRPr lang="en-US"/>
        </a:p>
      </dgm:t>
    </dgm:pt>
    <dgm:pt modelId="{C5927234-4C81-4356-824B-1CC02E1858CD}" type="sibTrans" cxnId="{94E8BFB4-86A6-49CD-BD97-0339C04D31FC}">
      <dgm:prSet/>
      <dgm:spPr/>
      <dgm:t>
        <a:bodyPr/>
        <a:lstStyle/>
        <a:p>
          <a:endParaRPr lang="en-US"/>
        </a:p>
      </dgm:t>
    </dgm:pt>
    <dgm:pt modelId="{57EA884F-51E3-43F1-891D-A3A851090123}">
      <dgm:prSet/>
      <dgm:spPr/>
      <dgm:t>
        <a:bodyPr/>
        <a:lstStyle/>
        <a:p>
          <a:r>
            <a:rPr lang="de-DE" dirty="0"/>
            <a:t>24. August</a:t>
          </a:r>
          <a:endParaRPr lang="en-US" dirty="0"/>
        </a:p>
      </dgm:t>
    </dgm:pt>
    <dgm:pt modelId="{CB33F043-7391-4FD4-ABC2-1E41D06BBEEB}" type="parTrans" cxnId="{216E9DE7-2730-4C47-BA30-AE2D7DD6E6E3}">
      <dgm:prSet/>
      <dgm:spPr/>
      <dgm:t>
        <a:bodyPr/>
        <a:lstStyle/>
        <a:p>
          <a:endParaRPr lang="en-US"/>
        </a:p>
      </dgm:t>
    </dgm:pt>
    <dgm:pt modelId="{BB6D1787-8086-4865-99F5-3F30277C592D}" type="sibTrans" cxnId="{216E9DE7-2730-4C47-BA30-AE2D7DD6E6E3}">
      <dgm:prSet/>
      <dgm:spPr/>
      <dgm:t>
        <a:bodyPr/>
        <a:lstStyle/>
        <a:p>
          <a:endParaRPr lang="en-US"/>
        </a:p>
      </dgm:t>
    </dgm:pt>
    <dgm:pt modelId="{DAD90A19-6EC8-4C79-A1B0-4AFEA34992B6}">
      <dgm:prSet/>
      <dgm:spPr/>
      <dgm:t>
        <a:bodyPr/>
        <a:lstStyle/>
        <a:p>
          <a:r>
            <a:rPr lang="de-DE"/>
            <a:t>9. November</a:t>
          </a:r>
          <a:endParaRPr lang="en-US"/>
        </a:p>
      </dgm:t>
    </dgm:pt>
    <dgm:pt modelId="{45FA13E7-4D31-4E00-9B8E-974A1CA0AE07}" type="parTrans" cxnId="{A7CFC210-24AC-4EFB-A2D4-5BD0F5C3E388}">
      <dgm:prSet/>
      <dgm:spPr/>
      <dgm:t>
        <a:bodyPr/>
        <a:lstStyle/>
        <a:p>
          <a:endParaRPr lang="en-US"/>
        </a:p>
      </dgm:t>
    </dgm:pt>
    <dgm:pt modelId="{E244368B-D165-48D3-A67C-D9FA836844AE}" type="sibTrans" cxnId="{A7CFC210-24AC-4EFB-A2D4-5BD0F5C3E388}">
      <dgm:prSet/>
      <dgm:spPr/>
      <dgm:t>
        <a:bodyPr/>
        <a:lstStyle/>
        <a:p>
          <a:endParaRPr lang="en-US"/>
        </a:p>
      </dgm:t>
    </dgm:pt>
    <dgm:pt modelId="{A1B13904-1670-4716-9E03-BAC958C1B326}" type="pres">
      <dgm:prSet presAssocID="{EC09DD83-9CD6-4761-9FF6-063D6FFB4B40}" presName="linear" presStyleCnt="0">
        <dgm:presLayoutVars>
          <dgm:dir/>
          <dgm:animLvl val="lvl"/>
          <dgm:resizeHandles val="exact"/>
        </dgm:presLayoutVars>
      </dgm:prSet>
      <dgm:spPr/>
    </dgm:pt>
    <dgm:pt modelId="{CBCA3A5D-698E-4E5B-A411-C2AD0491D6BD}" type="pres">
      <dgm:prSet presAssocID="{30290112-9B11-454A-A1C5-F2FB18318EE6}" presName="parentLin" presStyleCnt="0"/>
      <dgm:spPr/>
    </dgm:pt>
    <dgm:pt modelId="{C5D8A83D-7AC8-40F4-A08B-8F9763BC751A}" type="pres">
      <dgm:prSet presAssocID="{30290112-9B11-454A-A1C5-F2FB18318EE6}" presName="parentLeftMargin" presStyleLbl="node1" presStyleIdx="0" presStyleCnt="3"/>
      <dgm:spPr/>
    </dgm:pt>
    <dgm:pt modelId="{E6C54475-E532-47F8-A3C6-BEF80DB86AA4}" type="pres">
      <dgm:prSet presAssocID="{30290112-9B11-454A-A1C5-F2FB18318EE6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8B8ABBF9-F5CA-41A2-B5BE-B15A7BB74893}" type="pres">
      <dgm:prSet presAssocID="{30290112-9B11-454A-A1C5-F2FB18318EE6}" presName="negativeSpace" presStyleCnt="0"/>
      <dgm:spPr/>
    </dgm:pt>
    <dgm:pt modelId="{3A14E7B5-1E80-48E7-917D-EBC06FF8BB5D}" type="pres">
      <dgm:prSet presAssocID="{30290112-9B11-454A-A1C5-F2FB18318EE6}" presName="childText" presStyleLbl="conFgAcc1" presStyleIdx="0" presStyleCnt="3">
        <dgm:presLayoutVars>
          <dgm:bulletEnabled val="1"/>
        </dgm:presLayoutVars>
      </dgm:prSet>
      <dgm:spPr/>
    </dgm:pt>
    <dgm:pt modelId="{E1024563-9858-4CC2-B89B-FDFFBFC34DD3}" type="pres">
      <dgm:prSet presAssocID="{B8AD8808-E836-4D41-AC68-FCEFF44ADE9D}" presName="spaceBetweenRectangles" presStyleCnt="0"/>
      <dgm:spPr/>
    </dgm:pt>
    <dgm:pt modelId="{ECBAB3C4-C984-4813-B864-3FFFB6C92B03}" type="pres">
      <dgm:prSet presAssocID="{49A2710C-AE8B-4DB2-AA1A-F67268463827}" presName="parentLin" presStyleCnt="0"/>
      <dgm:spPr/>
    </dgm:pt>
    <dgm:pt modelId="{38C007AA-7070-459A-B3B9-CEA286205162}" type="pres">
      <dgm:prSet presAssocID="{49A2710C-AE8B-4DB2-AA1A-F67268463827}" presName="parentLeftMargin" presStyleLbl="node1" presStyleIdx="0" presStyleCnt="3"/>
      <dgm:spPr/>
    </dgm:pt>
    <dgm:pt modelId="{EA1FCF47-BC01-4747-9B69-63FD85D55013}" type="pres">
      <dgm:prSet presAssocID="{49A2710C-AE8B-4DB2-AA1A-F6726846382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F0512B2B-3EA5-43AB-BE75-2550DB49835B}" type="pres">
      <dgm:prSet presAssocID="{49A2710C-AE8B-4DB2-AA1A-F67268463827}" presName="negativeSpace" presStyleCnt="0"/>
      <dgm:spPr/>
    </dgm:pt>
    <dgm:pt modelId="{5A23B340-1503-436A-A73F-8E2DCD3D18D0}" type="pres">
      <dgm:prSet presAssocID="{49A2710C-AE8B-4DB2-AA1A-F67268463827}" presName="childText" presStyleLbl="conFgAcc1" presStyleIdx="1" presStyleCnt="3">
        <dgm:presLayoutVars>
          <dgm:bulletEnabled val="1"/>
        </dgm:presLayoutVars>
      </dgm:prSet>
      <dgm:spPr/>
    </dgm:pt>
    <dgm:pt modelId="{25CE8FB8-CBF4-437A-92DA-6910D5682BE1}" type="pres">
      <dgm:prSet presAssocID="{CC2BD297-B406-44D8-B1DE-7F7872E6C0A5}" presName="spaceBetweenRectangles" presStyleCnt="0"/>
      <dgm:spPr/>
    </dgm:pt>
    <dgm:pt modelId="{FAA5CE54-F3D7-4101-9C5F-2C28F3D2B20F}" type="pres">
      <dgm:prSet presAssocID="{59E10B02-D324-4822-BE0E-B8732F370611}" presName="parentLin" presStyleCnt="0"/>
      <dgm:spPr/>
    </dgm:pt>
    <dgm:pt modelId="{8E761BE9-45C5-40F8-ABFD-8DE14034D1C3}" type="pres">
      <dgm:prSet presAssocID="{59E10B02-D324-4822-BE0E-B8732F370611}" presName="parentLeftMargin" presStyleLbl="node1" presStyleIdx="1" presStyleCnt="3"/>
      <dgm:spPr/>
    </dgm:pt>
    <dgm:pt modelId="{2FD964D2-BED7-4F5D-9BBE-213CBC8DE793}" type="pres">
      <dgm:prSet presAssocID="{59E10B02-D324-4822-BE0E-B8732F370611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0C55512-0B43-435A-87C8-69AC0ADF92C4}" type="pres">
      <dgm:prSet presAssocID="{59E10B02-D324-4822-BE0E-B8732F370611}" presName="negativeSpace" presStyleCnt="0"/>
      <dgm:spPr/>
    </dgm:pt>
    <dgm:pt modelId="{40B024C0-246F-4B88-BA8D-39F9ABB28AAC}" type="pres">
      <dgm:prSet presAssocID="{59E10B02-D324-4822-BE0E-B8732F370611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AF4E040C-B4F7-40F0-B797-2D59BFF4E93E}" type="presOf" srcId="{59E10B02-D324-4822-BE0E-B8732F370611}" destId="{2FD964D2-BED7-4F5D-9BBE-213CBC8DE793}" srcOrd="1" destOrd="0" presId="urn:microsoft.com/office/officeart/2005/8/layout/list1"/>
    <dgm:cxn modelId="{A7CFC210-24AC-4EFB-A2D4-5BD0F5C3E388}" srcId="{59E10B02-D324-4822-BE0E-B8732F370611}" destId="{DAD90A19-6EC8-4C79-A1B0-4AFEA34992B6}" srcOrd="1" destOrd="0" parTransId="{45FA13E7-4D31-4E00-9B8E-974A1CA0AE07}" sibTransId="{E244368B-D165-48D3-A67C-D9FA836844AE}"/>
    <dgm:cxn modelId="{9E7BED21-C8CC-4292-B9AF-9E22D7FD546E}" type="presOf" srcId="{EC09DD83-9CD6-4761-9FF6-063D6FFB4B40}" destId="{A1B13904-1670-4716-9E03-BAC958C1B326}" srcOrd="0" destOrd="0" presId="urn:microsoft.com/office/officeart/2005/8/layout/list1"/>
    <dgm:cxn modelId="{11C3CA24-CB40-440C-A9BC-3D4CDC3DB74D}" type="presOf" srcId="{49A2710C-AE8B-4DB2-AA1A-F67268463827}" destId="{EA1FCF47-BC01-4747-9B69-63FD85D55013}" srcOrd="1" destOrd="0" presId="urn:microsoft.com/office/officeart/2005/8/layout/list1"/>
    <dgm:cxn modelId="{12D84B5C-2163-46FD-BED4-CC8B2759F12B}" type="presOf" srcId="{30290112-9B11-454A-A1C5-F2FB18318EE6}" destId="{E6C54475-E532-47F8-A3C6-BEF80DB86AA4}" srcOrd="1" destOrd="0" presId="urn:microsoft.com/office/officeart/2005/8/layout/list1"/>
    <dgm:cxn modelId="{FD040279-ED3E-4B67-A35C-BC9FBCC50F3E}" srcId="{EC09DD83-9CD6-4761-9FF6-063D6FFB4B40}" destId="{30290112-9B11-454A-A1C5-F2FB18318EE6}" srcOrd="0" destOrd="0" parTransId="{FCFBA5F8-F990-4303-B918-E66673765C98}" sibTransId="{B8AD8808-E836-4D41-AC68-FCEFF44ADE9D}"/>
    <dgm:cxn modelId="{26492B7A-9551-4731-A9CC-C4BAB99CAB22}" type="presOf" srcId="{49A2710C-AE8B-4DB2-AA1A-F67268463827}" destId="{38C007AA-7070-459A-B3B9-CEA286205162}" srcOrd="0" destOrd="0" presId="urn:microsoft.com/office/officeart/2005/8/layout/list1"/>
    <dgm:cxn modelId="{6D84A787-3117-4031-9B8C-D249C9C6DF31}" type="presOf" srcId="{57EA884F-51E3-43F1-891D-A3A851090123}" destId="{40B024C0-246F-4B88-BA8D-39F9ABB28AAC}" srcOrd="0" destOrd="0" presId="urn:microsoft.com/office/officeart/2005/8/layout/list1"/>
    <dgm:cxn modelId="{AD67B088-3BE0-43B8-9B12-0053FDDA5FC6}" type="presOf" srcId="{DAD90A19-6EC8-4C79-A1B0-4AFEA34992B6}" destId="{40B024C0-246F-4B88-BA8D-39F9ABB28AAC}" srcOrd="0" destOrd="1" presId="urn:microsoft.com/office/officeart/2005/8/layout/list1"/>
    <dgm:cxn modelId="{267DBD88-0F03-49D7-BAA1-8361C8D3D1C7}" type="presOf" srcId="{59E10B02-D324-4822-BE0E-B8732F370611}" destId="{8E761BE9-45C5-40F8-ABFD-8DE14034D1C3}" srcOrd="0" destOrd="0" presId="urn:microsoft.com/office/officeart/2005/8/layout/list1"/>
    <dgm:cxn modelId="{94E8BFB4-86A6-49CD-BD97-0339C04D31FC}" srcId="{EC09DD83-9CD6-4761-9FF6-063D6FFB4B40}" destId="{59E10B02-D324-4822-BE0E-B8732F370611}" srcOrd="2" destOrd="0" parTransId="{83D7E415-F611-488B-B548-BE3609A5D03D}" sibTransId="{C5927234-4C81-4356-824B-1CC02E1858CD}"/>
    <dgm:cxn modelId="{A95244B9-7105-464A-A59C-62F440C42A88}" srcId="{EC09DD83-9CD6-4761-9FF6-063D6FFB4B40}" destId="{49A2710C-AE8B-4DB2-AA1A-F67268463827}" srcOrd="1" destOrd="0" parTransId="{FE5AEC51-C3DC-40F5-9D71-05E92E4B28E2}" sibTransId="{CC2BD297-B406-44D8-B1DE-7F7872E6C0A5}"/>
    <dgm:cxn modelId="{1A79DAC6-6891-4773-9503-67973B35224F}" type="presOf" srcId="{30290112-9B11-454A-A1C5-F2FB18318EE6}" destId="{C5D8A83D-7AC8-40F4-A08B-8F9763BC751A}" srcOrd="0" destOrd="0" presId="urn:microsoft.com/office/officeart/2005/8/layout/list1"/>
    <dgm:cxn modelId="{216E9DE7-2730-4C47-BA30-AE2D7DD6E6E3}" srcId="{59E10B02-D324-4822-BE0E-B8732F370611}" destId="{57EA884F-51E3-43F1-891D-A3A851090123}" srcOrd="0" destOrd="0" parTransId="{CB33F043-7391-4FD4-ABC2-1E41D06BBEEB}" sibTransId="{BB6D1787-8086-4865-99F5-3F30277C592D}"/>
    <dgm:cxn modelId="{A9766588-B1B6-4B2A-85D8-812643244EF4}" type="presParOf" srcId="{A1B13904-1670-4716-9E03-BAC958C1B326}" destId="{CBCA3A5D-698E-4E5B-A411-C2AD0491D6BD}" srcOrd="0" destOrd="0" presId="urn:microsoft.com/office/officeart/2005/8/layout/list1"/>
    <dgm:cxn modelId="{8B93EBA5-5A2B-4613-A2E9-EE27A211467F}" type="presParOf" srcId="{CBCA3A5D-698E-4E5B-A411-C2AD0491D6BD}" destId="{C5D8A83D-7AC8-40F4-A08B-8F9763BC751A}" srcOrd="0" destOrd="0" presId="urn:microsoft.com/office/officeart/2005/8/layout/list1"/>
    <dgm:cxn modelId="{37D531DA-74DF-471B-ACBB-5B65F2495BB0}" type="presParOf" srcId="{CBCA3A5D-698E-4E5B-A411-C2AD0491D6BD}" destId="{E6C54475-E532-47F8-A3C6-BEF80DB86AA4}" srcOrd="1" destOrd="0" presId="urn:microsoft.com/office/officeart/2005/8/layout/list1"/>
    <dgm:cxn modelId="{A6F32C72-BFB9-4D92-8080-2508D639D666}" type="presParOf" srcId="{A1B13904-1670-4716-9E03-BAC958C1B326}" destId="{8B8ABBF9-F5CA-41A2-B5BE-B15A7BB74893}" srcOrd="1" destOrd="0" presId="urn:microsoft.com/office/officeart/2005/8/layout/list1"/>
    <dgm:cxn modelId="{C1C7449B-6665-4803-962D-7F6037CA36BD}" type="presParOf" srcId="{A1B13904-1670-4716-9E03-BAC958C1B326}" destId="{3A14E7B5-1E80-48E7-917D-EBC06FF8BB5D}" srcOrd="2" destOrd="0" presId="urn:microsoft.com/office/officeart/2005/8/layout/list1"/>
    <dgm:cxn modelId="{400D5244-7363-4938-B861-547A8E728E68}" type="presParOf" srcId="{A1B13904-1670-4716-9E03-BAC958C1B326}" destId="{E1024563-9858-4CC2-B89B-FDFFBFC34DD3}" srcOrd="3" destOrd="0" presId="urn:microsoft.com/office/officeart/2005/8/layout/list1"/>
    <dgm:cxn modelId="{4131795B-492E-4187-97EB-D8D9B89F0A6E}" type="presParOf" srcId="{A1B13904-1670-4716-9E03-BAC958C1B326}" destId="{ECBAB3C4-C984-4813-B864-3FFFB6C92B03}" srcOrd="4" destOrd="0" presId="urn:microsoft.com/office/officeart/2005/8/layout/list1"/>
    <dgm:cxn modelId="{26021BC1-456E-4D84-AE57-D85C3ADB4F4C}" type="presParOf" srcId="{ECBAB3C4-C984-4813-B864-3FFFB6C92B03}" destId="{38C007AA-7070-459A-B3B9-CEA286205162}" srcOrd="0" destOrd="0" presId="urn:microsoft.com/office/officeart/2005/8/layout/list1"/>
    <dgm:cxn modelId="{EB90ECA8-AE41-47B7-937E-B0EB7996FA0F}" type="presParOf" srcId="{ECBAB3C4-C984-4813-B864-3FFFB6C92B03}" destId="{EA1FCF47-BC01-4747-9B69-63FD85D55013}" srcOrd="1" destOrd="0" presId="urn:microsoft.com/office/officeart/2005/8/layout/list1"/>
    <dgm:cxn modelId="{A530E83D-BDF3-4E60-874B-89D76617F138}" type="presParOf" srcId="{A1B13904-1670-4716-9E03-BAC958C1B326}" destId="{F0512B2B-3EA5-43AB-BE75-2550DB49835B}" srcOrd="5" destOrd="0" presId="urn:microsoft.com/office/officeart/2005/8/layout/list1"/>
    <dgm:cxn modelId="{2F4741C5-19D2-4B55-8E1B-F6858C543874}" type="presParOf" srcId="{A1B13904-1670-4716-9E03-BAC958C1B326}" destId="{5A23B340-1503-436A-A73F-8E2DCD3D18D0}" srcOrd="6" destOrd="0" presId="urn:microsoft.com/office/officeart/2005/8/layout/list1"/>
    <dgm:cxn modelId="{44B10C66-1C12-4635-A01F-981B21BBA279}" type="presParOf" srcId="{A1B13904-1670-4716-9E03-BAC958C1B326}" destId="{25CE8FB8-CBF4-437A-92DA-6910D5682BE1}" srcOrd="7" destOrd="0" presId="urn:microsoft.com/office/officeart/2005/8/layout/list1"/>
    <dgm:cxn modelId="{EB44CF68-800D-4FBF-9BDD-6E1854E475D2}" type="presParOf" srcId="{A1B13904-1670-4716-9E03-BAC958C1B326}" destId="{FAA5CE54-F3D7-4101-9C5F-2C28F3D2B20F}" srcOrd="8" destOrd="0" presId="urn:microsoft.com/office/officeart/2005/8/layout/list1"/>
    <dgm:cxn modelId="{1BB9B639-B79C-4C74-96E6-8749ABC1DAA6}" type="presParOf" srcId="{FAA5CE54-F3D7-4101-9C5F-2C28F3D2B20F}" destId="{8E761BE9-45C5-40F8-ABFD-8DE14034D1C3}" srcOrd="0" destOrd="0" presId="urn:microsoft.com/office/officeart/2005/8/layout/list1"/>
    <dgm:cxn modelId="{B7979383-5331-4695-A57F-4ADA26DA8086}" type="presParOf" srcId="{FAA5CE54-F3D7-4101-9C5F-2C28F3D2B20F}" destId="{2FD964D2-BED7-4F5D-9BBE-213CBC8DE793}" srcOrd="1" destOrd="0" presId="urn:microsoft.com/office/officeart/2005/8/layout/list1"/>
    <dgm:cxn modelId="{E41F2ABB-AE1F-4E40-9E00-20CF430FDC31}" type="presParOf" srcId="{A1B13904-1670-4716-9E03-BAC958C1B326}" destId="{F0C55512-0B43-435A-87C8-69AC0ADF92C4}" srcOrd="9" destOrd="0" presId="urn:microsoft.com/office/officeart/2005/8/layout/list1"/>
    <dgm:cxn modelId="{40531E7C-8FAD-4E43-B3B0-1C3012404215}" type="presParOf" srcId="{A1B13904-1670-4716-9E03-BAC958C1B326}" destId="{40B024C0-246F-4B88-BA8D-39F9ABB28AAC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FAE939-6EEA-4D50-91B1-2D40C4E6ED94}">
      <dsp:nvSpPr>
        <dsp:cNvPr id="0" name=""/>
        <dsp:cNvSpPr/>
      </dsp:nvSpPr>
      <dsp:spPr>
        <a:xfrm>
          <a:off x="0" y="2273"/>
          <a:ext cx="941270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39E8E3-0026-4379-BE06-6F0F212E9686}">
      <dsp:nvSpPr>
        <dsp:cNvPr id="0" name=""/>
        <dsp:cNvSpPr/>
      </dsp:nvSpPr>
      <dsp:spPr>
        <a:xfrm>
          <a:off x="0" y="2273"/>
          <a:ext cx="9412705" cy="1550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kern="1200" dirty="0"/>
            <a:t>Microsoft 365 Gruppen – Was ist das und warum braucht man sie? </a:t>
          </a:r>
          <a:br>
            <a:rPr lang="en-US" sz="2600" kern="1200" dirty="0"/>
          </a:br>
          <a:r>
            <a:rPr lang="en-US" sz="2600" kern="1200" dirty="0"/>
            <a:t>- </a:t>
          </a:r>
          <a:r>
            <a:rPr lang="en-US" sz="2600" i="1" kern="1200" dirty="0"/>
            <a:t>Thomas Stensitzki</a:t>
          </a:r>
          <a:br>
            <a:rPr lang="de-DE" sz="2600" i="1" kern="1200" dirty="0"/>
          </a:br>
          <a:endParaRPr lang="en-US" sz="2600" kern="1200" dirty="0"/>
        </a:p>
      </dsp:txBody>
      <dsp:txXfrm>
        <a:off x="0" y="2273"/>
        <a:ext cx="9412705" cy="1550508"/>
      </dsp:txXfrm>
    </dsp:sp>
    <dsp:sp modelId="{58309249-398D-4CB0-ABBB-1CDA7AB4308D}">
      <dsp:nvSpPr>
        <dsp:cNvPr id="0" name=""/>
        <dsp:cNvSpPr/>
      </dsp:nvSpPr>
      <dsp:spPr>
        <a:xfrm>
          <a:off x="0" y="1552782"/>
          <a:ext cx="941270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FA17C3-BBE7-4CEC-B0CE-8EBFF4F4A366}">
      <dsp:nvSpPr>
        <dsp:cNvPr id="0" name=""/>
        <dsp:cNvSpPr/>
      </dsp:nvSpPr>
      <dsp:spPr>
        <a:xfrm>
          <a:off x="0" y="1552782"/>
          <a:ext cx="9412705" cy="1550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kern="1200" dirty="0"/>
            <a:t>Exchange Online Blockierung veralteter Exchange Server</a:t>
          </a:r>
          <a:br>
            <a:rPr lang="en-US" sz="2600" kern="1200" dirty="0"/>
          </a:br>
          <a:r>
            <a:rPr lang="en-US" sz="2600" kern="1200" dirty="0"/>
            <a:t>- </a:t>
          </a:r>
          <a:r>
            <a:rPr lang="en-US" sz="2600" i="1" kern="1200" dirty="0"/>
            <a:t>Thomas Stensitzki</a:t>
          </a:r>
          <a:endParaRPr lang="en-US" sz="2600" kern="1200" dirty="0"/>
        </a:p>
      </dsp:txBody>
      <dsp:txXfrm>
        <a:off x="0" y="1552782"/>
        <a:ext cx="9412705" cy="1550508"/>
      </dsp:txXfrm>
    </dsp:sp>
    <dsp:sp modelId="{E4C4EFCD-42E5-4D52-8081-E09F83C40188}">
      <dsp:nvSpPr>
        <dsp:cNvPr id="0" name=""/>
        <dsp:cNvSpPr/>
      </dsp:nvSpPr>
      <dsp:spPr>
        <a:xfrm>
          <a:off x="0" y="3103290"/>
          <a:ext cx="941270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6C742C-E9A1-4862-8D45-9920CEA60C30}">
      <dsp:nvSpPr>
        <dsp:cNvPr id="0" name=""/>
        <dsp:cNvSpPr/>
      </dsp:nvSpPr>
      <dsp:spPr>
        <a:xfrm>
          <a:off x="0" y="3103290"/>
          <a:ext cx="9412705" cy="1550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Exchange Q &amp; A</a:t>
          </a:r>
          <a:br>
            <a:rPr lang="de-DE" sz="2600" kern="1200" dirty="0"/>
          </a:br>
          <a:endParaRPr lang="en-US" sz="2600" kern="1200" dirty="0"/>
        </a:p>
      </dsp:txBody>
      <dsp:txXfrm>
        <a:off x="0" y="3103290"/>
        <a:ext cx="9412705" cy="15505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14E7B5-1E80-48E7-917D-EBC06FF8BB5D}">
      <dsp:nvSpPr>
        <dsp:cNvPr id="0" name=""/>
        <dsp:cNvSpPr/>
      </dsp:nvSpPr>
      <dsp:spPr>
        <a:xfrm>
          <a:off x="0" y="448746"/>
          <a:ext cx="10515600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C54475-E532-47F8-A3C6-BEF80DB86AA4}">
      <dsp:nvSpPr>
        <dsp:cNvPr id="0" name=""/>
        <dsp:cNvSpPr/>
      </dsp:nvSpPr>
      <dsp:spPr>
        <a:xfrm>
          <a:off x="525780" y="35466"/>
          <a:ext cx="7360920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Exchange User Group neu gedacht</a:t>
          </a:r>
          <a:endParaRPr lang="en-US" sz="2800" kern="1200" dirty="0"/>
        </a:p>
      </dsp:txBody>
      <dsp:txXfrm>
        <a:off x="566129" y="75815"/>
        <a:ext cx="7280222" cy="745862"/>
      </dsp:txXfrm>
    </dsp:sp>
    <dsp:sp modelId="{5A23B340-1503-436A-A73F-8E2DCD3D18D0}">
      <dsp:nvSpPr>
        <dsp:cNvPr id="0" name=""/>
        <dsp:cNvSpPr/>
      </dsp:nvSpPr>
      <dsp:spPr>
        <a:xfrm>
          <a:off x="0" y="1718826"/>
          <a:ext cx="10515600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1FCF47-BC01-4747-9B69-63FD85D55013}">
      <dsp:nvSpPr>
        <dsp:cNvPr id="0" name=""/>
        <dsp:cNvSpPr/>
      </dsp:nvSpPr>
      <dsp:spPr>
        <a:xfrm>
          <a:off x="525780" y="1305546"/>
          <a:ext cx="7360920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Lokale Meetup-Treffen mit Hybrid</a:t>
          </a:r>
          <a:endParaRPr lang="en-US" sz="2800" kern="1200" dirty="0"/>
        </a:p>
      </dsp:txBody>
      <dsp:txXfrm>
        <a:off x="566129" y="1345895"/>
        <a:ext cx="7280222" cy="745862"/>
      </dsp:txXfrm>
    </dsp:sp>
    <dsp:sp modelId="{40B024C0-246F-4B88-BA8D-39F9ABB28AAC}">
      <dsp:nvSpPr>
        <dsp:cNvPr id="0" name=""/>
        <dsp:cNvSpPr/>
      </dsp:nvSpPr>
      <dsp:spPr>
        <a:xfrm>
          <a:off x="0" y="2988906"/>
          <a:ext cx="10515600" cy="16317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127" tIns="583184" rIns="816127" bIns="199136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800" kern="1200" dirty="0"/>
            <a:t>24. August</a:t>
          </a:r>
          <a:endParaRPr lang="en-US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800" kern="1200"/>
            <a:t>9. November</a:t>
          </a:r>
          <a:endParaRPr lang="en-US" sz="2800" kern="1200"/>
        </a:p>
      </dsp:txBody>
      <dsp:txXfrm>
        <a:off x="0" y="2988906"/>
        <a:ext cx="10515600" cy="1631700"/>
      </dsp:txXfrm>
    </dsp:sp>
    <dsp:sp modelId="{2FD964D2-BED7-4F5D-9BBE-213CBC8DE793}">
      <dsp:nvSpPr>
        <dsp:cNvPr id="0" name=""/>
        <dsp:cNvSpPr/>
      </dsp:nvSpPr>
      <dsp:spPr>
        <a:xfrm>
          <a:off x="525780" y="2575626"/>
          <a:ext cx="7360920" cy="8265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/>
            <a:t>Termine 2023 (Planung)</a:t>
          </a:r>
          <a:endParaRPr lang="en-US" sz="2800" kern="1200"/>
        </a:p>
      </dsp:txBody>
      <dsp:txXfrm>
        <a:off x="566129" y="2615975"/>
        <a:ext cx="7280222" cy="7458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13.05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13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1110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637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6165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7881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3917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7090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834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56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mputacenter.com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techcommunity.microsoft.com/t5/exchange-team-blog/throttling-and-blocking-email-from-persistently-vulnerable/ba-p/3762078?WT.mc_id=M365-MVP-5003086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xchange/plan-and-deploy/custom-configuration-preservation?view=exchserver-2019&amp;WT.mc_id=M365-MVP-5003086" TargetMode="External"/><Relationship Id="rId2" Type="http://schemas.openxmlformats.org/officeDocument/2006/relationships/hyperlink" Target="https://learn.microsoft.com/exchange/plan-and-deploy/post-installation-tasks/enable-modern-auth-in-exchange-server-on-premises?view=exchserver-2019&amp;WT.mc_id=M365-MVP-5003086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o.granikos.eu/EXUSGMug" TargetMode="External"/><Relationship Id="rId5" Type="http://schemas.openxmlformats.org/officeDocument/2006/relationships/hyperlink" Target="https://go.granikos.eu/CommunitySticker" TargetMode="External"/><Relationship Id="rId4" Type="http://schemas.openxmlformats.org/officeDocument/2006/relationships/hyperlink" Target="https://go.granikos.eu/EXUSG-Themen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exusg.de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hyperlink" Target="https://go.granikos.eu/EXUSG-Recs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nowsoftware.com/?utm_campaign=ug-sponsoring&amp;utm_source=thomas-stensitzki&amp;utm_medium=partne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go.granikos.eu/EXUSG-Recs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techcommunity.microsoft.com/t5/exchange-team-blog/throttling-and-blocking-email-from-persistently-vulnerable/ba-p/3815328?WT.mc_id=M365-MVP-5003086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33625" y="1122363"/>
            <a:ext cx="9144000" cy="2387600"/>
          </a:xfrm>
        </p:spPr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Meetup Q2 2023</a:t>
            </a:r>
            <a:br>
              <a:rPr lang="de-DE" sz="3200" b="1" dirty="0"/>
            </a:br>
            <a:r>
              <a:rPr lang="de-DE" sz="2000" b="1" dirty="0"/>
              <a:t>{Hybrid Edition}</a:t>
            </a:r>
            <a:endParaRPr lang="de-DE" sz="3200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11. </a:t>
            </a:r>
            <a:r>
              <a:rPr lang="de-DE"/>
              <a:t>Mai </a:t>
            </a:r>
            <a:r>
              <a:rPr lang="de-DE" dirty="0"/>
              <a:t>2023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96C4C99C-DAD8-4CA7-9932-EEBDC4A8C97C}"/>
              </a:ext>
            </a:extLst>
          </p:cNvPr>
          <p:cNvSpPr txBox="1">
            <a:spLocks/>
          </p:cNvSpPr>
          <p:nvPr/>
        </p:nvSpPr>
        <p:spPr>
          <a:xfrm>
            <a:off x="1524000" y="4639655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tabLst>
                <a:tab pos="1073150" algn="l"/>
              </a:tabLst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0B6B11-F728-293E-A8CD-15C173A92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Geplante Maßnahm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5A06D5-899C-AB29-C227-7E65D6C737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Drosselung</a:t>
            </a:r>
            <a:r>
              <a:rPr lang="de-DE" dirty="0"/>
              <a:t> (Throttling)</a:t>
            </a:r>
          </a:p>
          <a:p>
            <a:pPr lvl="1"/>
            <a:r>
              <a:rPr lang="de-DE" dirty="0"/>
              <a:t>Abweisung der SMTP-Verbindung mit SMTP </a:t>
            </a:r>
            <a:r>
              <a:rPr lang="de-DE" b="1" dirty="0"/>
              <a:t>Statuscode 450</a:t>
            </a:r>
          </a:p>
          <a:p>
            <a:pPr lvl="1"/>
            <a:r>
              <a:rPr lang="de-DE" b="1" dirty="0"/>
              <a:t>Erneuter Verbindungsversuch </a:t>
            </a:r>
            <a:r>
              <a:rPr lang="de-DE" dirty="0"/>
              <a:t>durch lokalen Exchange Server</a:t>
            </a:r>
          </a:p>
          <a:p>
            <a:pPr lvl="1"/>
            <a:r>
              <a:rPr lang="de-DE" dirty="0"/>
              <a:t>Verhalten analog zu einer </a:t>
            </a:r>
            <a:r>
              <a:rPr lang="de-DE" dirty="0" err="1"/>
              <a:t>Greylisting</a:t>
            </a:r>
            <a:r>
              <a:rPr lang="de-DE" dirty="0"/>
              <a:t>-Funktion</a:t>
            </a:r>
          </a:p>
          <a:p>
            <a:pPr lvl="1"/>
            <a:endParaRPr lang="de-DE" dirty="0"/>
          </a:p>
          <a:p>
            <a:r>
              <a:rPr lang="de-DE" b="1" dirty="0"/>
              <a:t>Blockierung</a:t>
            </a:r>
            <a:r>
              <a:rPr lang="de-DE" dirty="0"/>
              <a:t> (Blocking)</a:t>
            </a:r>
          </a:p>
          <a:p>
            <a:pPr lvl="1"/>
            <a:r>
              <a:rPr lang="de-DE" dirty="0"/>
              <a:t>Abweisung der SMTP-Verbindung mit SMTP </a:t>
            </a:r>
            <a:r>
              <a:rPr lang="de-DE" b="1" dirty="0"/>
              <a:t>Statuscode 550</a:t>
            </a:r>
          </a:p>
          <a:p>
            <a:pPr lvl="1"/>
            <a:r>
              <a:rPr lang="de-DE" b="1" dirty="0"/>
              <a:t>Kein erneuter Verbindungsversuch </a:t>
            </a:r>
            <a:r>
              <a:rPr lang="de-DE" dirty="0"/>
              <a:t>durch lokalen Exchange Server</a:t>
            </a:r>
          </a:p>
          <a:p>
            <a:pPr lvl="1"/>
            <a:r>
              <a:rPr lang="de-DE" dirty="0"/>
              <a:t>Nichtzustellbarkeitsbericht (NDR) an Absend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FEF10CA-4B33-840D-483B-8BBC2922E2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55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7B9543-F2C9-9D44-346F-6AB242EC4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bgestufte Umsetz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B265B8A-A1DD-DCED-D548-BB1BE4E15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84F6A171-0863-895B-D755-568AED3C1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28374"/>
              </p:ext>
            </p:extLst>
          </p:nvPr>
        </p:nvGraphicFramePr>
        <p:xfrm>
          <a:off x="838200" y="1867263"/>
          <a:ext cx="10725725" cy="434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2819">
                  <a:extLst>
                    <a:ext uri="{9D8B030D-6E8A-4147-A177-3AD203B41FA5}">
                      <a16:colId xmlns:a16="http://schemas.microsoft.com/office/drawing/2014/main" val="3653616421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915403785"/>
                    </a:ext>
                  </a:extLst>
                </a:gridCol>
                <a:gridCol w="2780146">
                  <a:extLst>
                    <a:ext uri="{9D8B030D-6E8A-4147-A177-3AD203B41FA5}">
                      <a16:colId xmlns:a16="http://schemas.microsoft.com/office/drawing/2014/main" val="1498171837"/>
                    </a:ext>
                  </a:extLst>
                </a:gridCol>
                <a:gridCol w="2752436">
                  <a:extLst>
                    <a:ext uri="{9D8B030D-6E8A-4147-A177-3AD203B41FA5}">
                      <a16:colId xmlns:a16="http://schemas.microsoft.com/office/drawing/2014/main" val="3316094758"/>
                    </a:ext>
                  </a:extLst>
                </a:gridCol>
                <a:gridCol w="3232724">
                  <a:extLst>
                    <a:ext uri="{9D8B030D-6E8A-4147-A177-3AD203B41FA5}">
                      <a16:colId xmlns:a16="http://schemas.microsoft.com/office/drawing/2014/main" val="1967024154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de-DE" dirty="0"/>
                        <a:t>Durchsetzungsaktione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urchsetzungsdau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0048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tuf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ericht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rosselung (min/h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lockierung (min/h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icht-</a:t>
                      </a:r>
                      <a:r>
                        <a:rPr lang="de-DE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mpliant</a:t>
                      </a:r>
                      <a:r>
                        <a:rPr lang="de-DE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(Tage)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38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0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9118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0264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1673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7559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741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904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0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73186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2927299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pPr algn="r"/>
                      <a:r>
                        <a:rPr lang="de-DE" dirty="0"/>
                        <a:t>Gesamtanzahl der Tage zwischen </a:t>
                      </a:r>
                      <a:r>
                        <a:rPr lang="de-DE" b="1" dirty="0"/>
                        <a:t>Ersterkennung</a:t>
                      </a:r>
                      <a:r>
                        <a:rPr lang="de-DE" dirty="0"/>
                        <a:t> und </a:t>
                      </a:r>
                      <a:br>
                        <a:rPr lang="de-DE" dirty="0"/>
                      </a:br>
                      <a:r>
                        <a:rPr lang="de-DE" b="1" dirty="0"/>
                        <a:t>vollständiger Blockierung </a:t>
                      </a:r>
                      <a:r>
                        <a:rPr lang="de-DE" dirty="0"/>
                        <a:t>der Verbindunge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945442"/>
                  </a:ext>
                </a:extLst>
              </a:tr>
            </a:tbl>
          </a:graphicData>
        </a:graphic>
      </p:graphicFrame>
      <p:sp>
        <p:nvSpPr>
          <p:cNvPr id="8" name="Sprechblase: rechteckig 7">
            <a:extLst>
              <a:ext uri="{FF2B5EF4-FFF2-40B4-BE49-F238E27FC236}">
                <a16:creationId xmlns:a16="http://schemas.microsoft.com/office/drawing/2014/main" id="{3908B4D9-BC80-D760-5542-B7E58B2B71FD}"/>
              </a:ext>
            </a:extLst>
          </p:cNvPr>
          <p:cNvSpPr/>
          <p:nvPr/>
        </p:nvSpPr>
        <p:spPr>
          <a:xfrm>
            <a:off x="7268173" y="3166438"/>
            <a:ext cx="2095282" cy="935300"/>
          </a:xfrm>
          <a:prstGeom prst="wedgeRectCallou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Erste Blockierung nach 60 Tagen</a:t>
            </a:r>
          </a:p>
        </p:txBody>
      </p:sp>
    </p:spTree>
    <p:extLst>
      <p:ext uri="{BB962C8B-B14F-4D97-AF65-F5344CB8AC3E}">
        <p14:creationId xmlns:p14="http://schemas.microsoft.com/office/powerpoint/2010/main" val="287336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D65EF-895B-4242-AA0C-93A1076E6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Freikauf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91700B-F9FB-99FA-05F4-2EDF1FB268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520890"/>
            <a:ext cx="9701463" cy="4656073"/>
          </a:xfrm>
        </p:spPr>
        <p:txBody>
          <a:bodyPr/>
          <a:lstStyle/>
          <a:p>
            <a:r>
              <a:rPr lang="de-DE" dirty="0"/>
              <a:t>Die Drosselung oder Blockierung kann für insgesamt 90 Tage je Kalenderjahr ausgesetzt werden</a:t>
            </a:r>
          </a:p>
          <a:p>
            <a:pPr marL="0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/>
              <a:t>Enforcement</a:t>
            </a:r>
            <a:r>
              <a:rPr lang="de-DE" dirty="0"/>
              <a:t> Pause</a:t>
            </a:r>
          </a:p>
          <a:p>
            <a:pPr lvl="1"/>
            <a:endParaRPr lang="de-DE" dirty="0"/>
          </a:p>
          <a:p>
            <a:pPr marL="0" indent="0">
              <a:buNone/>
            </a:pPr>
            <a:r>
              <a:rPr lang="de-DE" dirty="0"/>
              <a:t>Beispiel</a:t>
            </a:r>
          </a:p>
          <a:p>
            <a:pPr lvl="1"/>
            <a:r>
              <a:rPr lang="de-DE" dirty="0"/>
              <a:t>15 Tage in Q1</a:t>
            </a:r>
          </a:p>
          <a:p>
            <a:pPr lvl="1"/>
            <a:r>
              <a:rPr lang="de-DE" dirty="0"/>
              <a:t>20 Tage in Q3</a:t>
            </a:r>
          </a:p>
          <a:p>
            <a:pPr marL="269875" lvl="1" indent="0">
              <a:buNone/>
            </a:pPr>
            <a:r>
              <a:rPr lang="de-DE" dirty="0"/>
              <a:t>Rest 55 Tage </a:t>
            </a:r>
            <a:br>
              <a:rPr lang="de-DE" dirty="0"/>
            </a:br>
            <a:r>
              <a:rPr lang="de-DE" dirty="0">
                <a:sym typeface="Wingdings" panose="05000000000000000000" pitchFamily="2" charset="2"/>
              </a:rPr>
              <a:t> verbleibendes Kontingent </a:t>
            </a:r>
            <a:r>
              <a:rPr lang="de-DE" b="1" dirty="0">
                <a:sym typeface="Wingdings" panose="05000000000000000000" pitchFamily="2" charset="2"/>
              </a:rPr>
              <a:t>verfällt</a:t>
            </a:r>
            <a:r>
              <a:rPr lang="de-DE" dirty="0">
                <a:sym typeface="Wingdings" panose="05000000000000000000" pitchFamily="2" charset="2"/>
              </a:rPr>
              <a:t> am Ende eines Kalenderjahres 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AFD82BE-C7FC-874A-DFC3-C19E36CF39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053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26FE343-3189-CD49-4272-DEE566E71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etroffene Verbindungsar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91111E-1903-314C-E4BB-F2631166EA61}"/>
              </a:ext>
            </a:extLst>
          </p:cNvPr>
          <p:cNvSpPr/>
          <p:nvPr/>
        </p:nvSpPr>
        <p:spPr>
          <a:xfrm>
            <a:off x="945751" y="3041034"/>
            <a:ext cx="3877056" cy="308805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de-DE" b="1" dirty="0"/>
              <a:t>On-Premise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EA5464C-AED4-E231-778B-7D30EA08D0D2}"/>
              </a:ext>
            </a:extLst>
          </p:cNvPr>
          <p:cNvSpPr/>
          <p:nvPr/>
        </p:nvSpPr>
        <p:spPr>
          <a:xfrm>
            <a:off x="7107066" y="3041034"/>
            <a:ext cx="3877056" cy="308805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de-DE" b="1" dirty="0"/>
              <a:t>Exchange On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8E1D1B7-C7F6-672A-5CD3-B5EB462D5E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69974" y="4123621"/>
            <a:ext cx="997712" cy="922884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E25842F-9733-FA9C-E423-436D58B1F0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7066" y="1352468"/>
            <a:ext cx="5009664" cy="148657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67AC89C-178E-5CC2-EE04-56CEB6D1CE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4879" y="4123621"/>
            <a:ext cx="558800" cy="81915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5BBAB6B-7923-4204-1C17-E6BEAD4345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1717" y="4565588"/>
            <a:ext cx="483923" cy="480917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CE45CECB-3499-16AF-7FA0-DEB27C24B9DC}"/>
              </a:ext>
            </a:extLst>
          </p:cNvPr>
          <p:cNvSpPr txBox="1"/>
          <p:nvPr/>
        </p:nvSpPr>
        <p:spPr>
          <a:xfrm>
            <a:off x="1781774" y="5046505"/>
            <a:ext cx="24244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Exchange Server 2007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C63BC604-CDFD-C6EA-AE75-9B471772152A}"/>
              </a:ext>
            </a:extLst>
          </p:cNvPr>
          <p:cNvSpPr/>
          <p:nvPr/>
        </p:nvSpPr>
        <p:spPr>
          <a:xfrm>
            <a:off x="6685715" y="4296164"/>
            <a:ext cx="2063931" cy="474063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Inbound Connector</a:t>
            </a:r>
            <a:br>
              <a:rPr lang="de-DE" sz="1400" dirty="0"/>
            </a:br>
            <a:r>
              <a:rPr lang="de-DE" sz="1400" dirty="0" err="1"/>
              <a:t>OnPremises</a:t>
            </a:r>
            <a:endParaRPr lang="de-DE" sz="1400" dirty="0"/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7BDCF67F-9BE1-9A1F-1ABE-BD0969E2E179}"/>
              </a:ext>
            </a:extLst>
          </p:cNvPr>
          <p:cNvCxnSpPr>
            <a:stCxn id="15" idx="3"/>
            <a:endCxn id="19" idx="1"/>
          </p:cNvCxnSpPr>
          <p:nvPr/>
        </p:nvCxnSpPr>
        <p:spPr>
          <a:xfrm>
            <a:off x="3163679" y="4533196"/>
            <a:ext cx="3522036" cy="0"/>
          </a:xfrm>
          <a:prstGeom prst="straightConnector1">
            <a:avLst/>
          </a:prstGeom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041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B66DCE-8BC0-4159-A055-AA1E88CF6B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enachrichtig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A4E630C-05EA-11F1-2AC4-DD78FD3FCD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euer Report im Exchange Online Admin Cent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ED9B06-9EF6-FD46-483F-5C5CF285F4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050" name="Picture 2" descr="thumbnail image 1 of blog post titled &#10; &#10; &#10;  &#10; &#10; &#10; &#10;    &#10;  &#10;   &#10;    &#10;      &#10;       Throttling and Blocking Email from Persistently Vulnerable Exchange Servers to Exchange Online&#10;       &#10;      &#10;     &#10;   &#10;  &#10; &#10;   &#10; &#10; &#10; &#10; &#10; &#10;">
            <a:extLst>
              <a:ext uri="{FF2B5EF4-FFF2-40B4-BE49-F238E27FC236}">
                <a16:creationId xmlns:a16="http://schemas.microsoft.com/office/drawing/2014/main" id="{DAA10B63-C44D-95E7-CE46-FADC058DE7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015" y="2664275"/>
            <a:ext cx="6067969" cy="30947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1DCE73A9-46F2-AFB2-9291-F49463E3D446}"/>
              </a:ext>
            </a:extLst>
          </p:cNvPr>
          <p:cNvSpPr txBox="1"/>
          <p:nvPr/>
        </p:nvSpPr>
        <p:spPr>
          <a:xfrm>
            <a:off x="2978331" y="5783346"/>
            <a:ext cx="40965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Mockup-Beispiel – Quelle: Microsoft</a:t>
            </a:r>
          </a:p>
        </p:txBody>
      </p:sp>
    </p:spTree>
    <p:extLst>
      <p:ext uri="{BB962C8B-B14F-4D97-AF65-F5344CB8AC3E}">
        <p14:creationId xmlns:p14="http://schemas.microsoft.com/office/powerpoint/2010/main" val="66227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14BFC-6328-9B01-1AC5-1FF1667D1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enachrichtig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868040-FAB9-3612-B4E2-66B00F5615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rosselung</a:t>
            </a:r>
          </a:p>
          <a:p>
            <a:pPr lvl="1"/>
            <a:r>
              <a:rPr lang="de-DE" dirty="0"/>
              <a:t>SMTP-Protokoll des lokalen Exchange Servers</a:t>
            </a:r>
          </a:p>
          <a:p>
            <a:pPr marL="269875" lvl="1" indent="0">
              <a:buNone/>
            </a:pPr>
            <a:r>
              <a:rPr lang="en-US" sz="1800" b="1" dirty="0">
                <a:solidFill>
                  <a:srgbClr val="FFFF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50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4.7.230 Connecting Exchange server version is out-of-date; </a:t>
            </a:r>
            <a:r>
              <a:rPr lang="en-US" sz="1800" b="1" dirty="0">
                <a:solidFill>
                  <a:srgbClr val="FFFF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 to Exchange Online throttled for 5 mins/hr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. For more information see https://aka.ms/BlockUnsafeExchange.</a:t>
            </a:r>
            <a:endParaRPr lang="de-DE" sz="1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r>
              <a:rPr lang="de-DE" dirty="0"/>
              <a:t>Blockierung</a:t>
            </a:r>
          </a:p>
          <a:p>
            <a:pPr lvl="1"/>
            <a:r>
              <a:rPr lang="de-DE" dirty="0"/>
              <a:t>SMTP-Protokoll des lokalen Exchange Servers</a:t>
            </a:r>
            <a:br>
              <a:rPr lang="de-DE" dirty="0"/>
            </a:br>
            <a:endParaRPr lang="de-DE" dirty="0"/>
          </a:p>
          <a:p>
            <a:pPr marL="269875" lvl="1" indent="0">
              <a:buNone/>
            </a:pPr>
            <a:r>
              <a:rPr lang="en-US" sz="1800" b="1" dirty="0">
                <a:solidFill>
                  <a:srgbClr val="FFFF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50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5.7.230 Connecting Exchange server version is out-of-date; </a:t>
            </a:r>
            <a:r>
              <a:rPr lang="en-US" sz="1800" b="1" dirty="0">
                <a:solidFill>
                  <a:srgbClr val="FFFF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nection to Exchange Online blocked for 10 mins/hr</a:t>
            </a:r>
            <a:r>
              <a:rPr lang="en-US" sz="1800" b="1" dirty="0">
                <a:latin typeface="Courier New" panose="02070309020205020404" pitchFamily="49" charset="0"/>
                <a:cs typeface="Courier New" panose="02070309020205020404" pitchFamily="49" charset="0"/>
              </a:rPr>
              <a:t>. For more information see https://aka.ms/BlockUnsafeExchange.</a:t>
            </a:r>
            <a:endParaRPr lang="de-DE" sz="18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9980CA9-D205-E4BC-B55C-8B9CC8D220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994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F4E157-ED69-741D-E7A4-FE032D6EC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ie werden Versionen erkannt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25B45F0-6C59-D54F-2801-1ACFC2C846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le Informationen sind Bestandteil des E-Mail-Headers</a:t>
            </a:r>
          </a:p>
          <a:p>
            <a:pPr marL="0" indent="0">
              <a:buNone/>
            </a:pP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ceived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from 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smtpo.verunagroup.de (81.173.212.44)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VE1EUR01FT066.mail.protection.outlook.com (10.152.3.94) with Microsoft SMTP</a:t>
            </a: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Server (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ersion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=TLS1_2,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pher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=TLS_ECDHE_RSA_WITH_AES_256_CBC_SHA384)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15.20.6319.25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via Frontend Transport;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ri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21 Apr 2023 08:55:17 +0000</a:t>
            </a:r>
          </a:p>
          <a:p>
            <a:pPr marL="0" indent="0">
              <a:buNone/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ceived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from DEHVNEX01.verunagroup.de (192.16.22.86)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smtpo.verunagroup.de</a:t>
            </a: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192.17.0.99) with Microsoft SMTP Server (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ersion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=TLS1_2,</a:t>
            </a: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pher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=TLS_ECDHE_RSA_WITH_AES_128_CBC_SHA256_P256)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>
                <a:solidFill>
                  <a:srgbClr val="FFFF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5.1.2507.23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ri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21</a:t>
            </a: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pr 2023 10:55:05 +0200</a:t>
            </a:r>
          </a:p>
          <a:p>
            <a:pPr marL="0" indent="0">
              <a:buNone/>
            </a:pPr>
            <a:endParaRPr lang="de-DE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ceived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: from DEHVNEX01.verunagroup.de (192.16.22.86)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y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>
                <a:latin typeface="Courier New" panose="02070309020205020404" pitchFamily="49" charset="0"/>
                <a:cs typeface="Courier New" panose="02070309020205020404" pitchFamily="49" charset="0"/>
              </a:rPr>
              <a:t>DEHVNEX01.verunagroup.de</a:t>
            </a: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(192.16.22.86) with Microsoft SMTP Server (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ersion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=TLS1_2,</a:t>
            </a: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pher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=TLS_ECDHE_RSA_WITH_AES_128_CBC_SHA256_P256)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d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200" b="1" dirty="0">
                <a:solidFill>
                  <a:srgbClr val="FFFF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5.1.2507.23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lang="de-DE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ri</a:t>
            </a: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 21</a:t>
            </a:r>
          </a:p>
          <a:p>
            <a:pPr marL="0" indent="0">
              <a:buNone/>
            </a:pPr>
            <a:r>
              <a:rPr lang="de-DE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Apr 2023 10:55:05 +020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185E12C-D354-2F88-D6B4-A18C6EF3A1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xchange Server 2016 – </a:t>
            </a:r>
            <a:r>
              <a:rPr lang="de-DE" dirty="0" err="1"/>
              <a:t>Auschnitt</a:t>
            </a:r>
            <a:r>
              <a:rPr lang="de-DE" dirty="0"/>
              <a:t> Mail-Header</a:t>
            </a:r>
          </a:p>
        </p:txBody>
      </p:sp>
      <p:sp>
        <p:nvSpPr>
          <p:cNvPr id="5" name="EXO">
            <a:extLst>
              <a:ext uri="{FF2B5EF4-FFF2-40B4-BE49-F238E27FC236}">
                <a16:creationId xmlns:a16="http://schemas.microsoft.com/office/drawing/2014/main" id="{D19796E9-453F-536D-080A-C76A8745376F}"/>
              </a:ext>
            </a:extLst>
          </p:cNvPr>
          <p:cNvSpPr/>
          <p:nvPr/>
        </p:nvSpPr>
        <p:spPr>
          <a:xfrm>
            <a:off x="8669942" y="1985555"/>
            <a:ext cx="3264284" cy="117043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e-DE" b="1" dirty="0"/>
              <a:t>Exchange Online</a:t>
            </a:r>
          </a:p>
        </p:txBody>
      </p:sp>
      <p:pic>
        <p:nvPicPr>
          <p:cNvPr id="6" name="EXO Logo">
            <a:extLst>
              <a:ext uri="{FF2B5EF4-FFF2-40B4-BE49-F238E27FC236}">
                <a16:creationId xmlns:a16="http://schemas.microsoft.com/office/drawing/2014/main" id="{08D68EDD-4761-23BF-56F2-8F1D00374E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5833" y="2333739"/>
            <a:ext cx="512500" cy="474063"/>
          </a:xfrm>
          <a:prstGeom prst="rect">
            <a:avLst/>
          </a:prstGeom>
        </p:spPr>
      </p:pic>
      <p:sp>
        <p:nvSpPr>
          <p:cNvPr id="7" name="On-Premises">
            <a:extLst>
              <a:ext uri="{FF2B5EF4-FFF2-40B4-BE49-F238E27FC236}">
                <a16:creationId xmlns:a16="http://schemas.microsoft.com/office/drawing/2014/main" id="{2A03B71D-A7FC-6779-F502-42837311B2E8}"/>
              </a:ext>
            </a:extLst>
          </p:cNvPr>
          <p:cNvSpPr/>
          <p:nvPr/>
        </p:nvSpPr>
        <p:spPr>
          <a:xfrm>
            <a:off x="8669942" y="3364993"/>
            <a:ext cx="3264284" cy="308805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de-DE" b="1" dirty="0"/>
              <a:t>On-Premises</a:t>
            </a:r>
          </a:p>
        </p:txBody>
      </p:sp>
      <p:sp>
        <p:nvSpPr>
          <p:cNvPr id="8" name="Inbound Connector">
            <a:extLst>
              <a:ext uri="{FF2B5EF4-FFF2-40B4-BE49-F238E27FC236}">
                <a16:creationId xmlns:a16="http://schemas.microsoft.com/office/drawing/2014/main" id="{3ADE82B9-9A95-84EC-B180-F6BF4D5323D0}"/>
              </a:ext>
            </a:extLst>
          </p:cNvPr>
          <p:cNvSpPr/>
          <p:nvPr/>
        </p:nvSpPr>
        <p:spPr>
          <a:xfrm>
            <a:off x="9270118" y="2786427"/>
            <a:ext cx="2063931" cy="474063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/>
              <a:t>Inbound Connector</a:t>
            </a:r>
            <a:br>
              <a:rPr lang="de-DE" sz="1400" dirty="0"/>
            </a:br>
            <a:r>
              <a:rPr lang="de-DE" sz="1400" dirty="0" err="1"/>
              <a:t>OnPremises</a:t>
            </a:r>
            <a:endParaRPr lang="de-DE" sz="1400" dirty="0"/>
          </a:p>
        </p:txBody>
      </p:sp>
      <p:pic>
        <p:nvPicPr>
          <p:cNvPr id="10" name="EX16 Edge">
            <a:extLst>
              <a:ext uri="{FF2B5EF4-FFF2-40B4-BE49-F238E27FC236}">
                <a16:creationId xmlns:a16="http://schemas.microsoft.com/office/drawing/2014/main" id="{96B46EDF-CD85-7122-228B-311E4C5D3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45833" y="3783497"/>
            <a:ext cx="591227" cy="572751"/>
          </a:xfrm>
          <a:prstGeom prst="rect">
            <a:avLst/>
          </a:prstGeom>
        </p:spPr>
      </p:pic>
      <p:pic>
        <p:nvPicPr>
          <p:cNvPr id="12" name="EX16 Mailbox">
            <a:extLst>
              <a:ext uri="{FF2B5EF4-FFF2-40B4-BE49-F238E27FC236}">
                <a16:creationId xmlns:a16="http://schemas.microsoft.com/office/drawing/2014/main" id="{7B6F817F-0F24-8304-C956-AC3BF3974F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45832" y="5133441"/>
            <a:ext cx="591228" cy="572752"/>
          </a:xfrm>
          <a:prstGeom prst="rect">
            <a:avLst/>
          </a:prstGeom>
        </p:spPr>
      </p:pic>
      <p:cxnSp>
        <p:nvCxnSpPr>
          <p:cNvPr id="13" name="EDGE-EXO">
            <a:extLst>
              <a:ext uri="{FF2B5EF4-FFF2-40B4-BE49-F238E27FC236}">
                <a16:creationId xmlns:a16="http://schemas.microsoft.com/office/drawing/2014/main" id="{2E56D9E1-CDCC-A1D7-8CB1-202C3EB6ED91}"/>
              </a:ext>
            </a:extLst>
          </p:cNvPr>
          <p:cNvCxnSpPr>
            <a:cxnSpLocks/>
            <a:endCxn id="8" idx="2"/>
          </p:cNvCxnSpPr>
          <p:nvPr/>
        </p:nvCxnSpPr>
        <p:spPr>
          <a:xfrm flipV="1">
            <a:off x="10302084" y="3260490"/>
            <a:ext cx="0" cy="523007"/>
          </a:xfrm>
          <a:prstGeom prst="straightConnector1">
            <a:avLst/>
          </a:prstGeom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MBX-EDGE">
            <a:extLst>
              <a:ext uri="{FF2B5EF4-FFF2-40B4-BE49-F238E27FC236}">
                <a16:creationId xmlns:a16="http://schemas.microsoft.com/office/drawing/2014/main" id="{CBDDF78F-B47D-327D-CA89-47B400035C0A}"/>
              </a:ext>
            </a:extLst>
          </p:cNvPr>
          <p:cNvCxnSpPr>
            <a:cxnSpLocks/>
          </p:cNvCxnSpPr>
          <p:nvPr/>
        </p:nvCxnSpPr>
        <p:spPr>
          <a:xfrm flipV="1">
            <a:off x="10299646" y="4356248"/>
            <a:ext cx="1" cy="777193"/>
          </a:xfrm>
          <a:prstGeom prst="straightConnector1">
            <a:avLst/>
          </a:prstGeom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Mail Header MBX">
            <a:extLst>
              <a:ext uri="{FF2B5EF4-FFF2-40B4-BE49-F238E27FC236}">
                <a16:creationId xmlns:a16="http://schemas.microsoft.com/office/drawing/2014/main" id="{3B5BE70A-E77F-A8AF-723C-34DC4EBF8769}"/>
              </a:ext>
            </a:extLst>
          </p:cNvPr>
          <p:cNvSpPr/>
          <p:nvPr/>
        </p:nvSpPr>
        <p:spPr>
          <a:xfrm>
            <a:off x="731520" y="4781006"/>
            <a:ext cx="7874290" cy="1395957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Mail Header  EDGE">
            <a:extLst>
              <a:ext uri="{FF2B5EF4-FFF2-40B4-BE49-F238E27FC236}">
                <a16:creationId xmlns:a16="http://schemas.microsoft.com/office/drawing/2014/main" id="{88D437A0-3F2A-535F-3464-F30D8BE9F0F6}"/>
              </a:ext>
            </a:extLst>
          </p:cNvPr>
          <p:cNvSpPr/>
          <p:nvPr/>
        </p:nvSpPr>
        <p:spPr>
          <a:xfrm>
            <a:off x="731520" y="3345377"/>
            <a:ext cx="7874290" cy="1395957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3" name="EDGE Header Link">
            <a:extLst>
              <a:ext uri="{FF2B5EF4-FFF2-40B4-BE49-F238E27FC236}">
                <a16:creationId xmlns:a16="http://schemas.microsoft.com/office/drawing/2014/main" id="{CFC746D2-3B80-D089-ACC2-4B14DD8DB99D}"/>
              </a:ext>
            </a:extLst>
          </p:cNvPr>
          <p:cNvCxnSpPr>
            <a:stCxn id="20" idx="3"/>
            <a:endCxn id="10" idx="1"/>
          </p:cNvCxnSpPr>
          <p:nvPr/>
        </p:nvCxnSpPr>
        <p:spPr>
          <a:xfrm>
            <a:off x="8605810" y="4043356"/>
            <a:ext cx="1440023" cy="26517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MBX Header Link">
            <a:extLst>
              <a:ext uri="{FF2B5EF4-FFF2-40B4-BE49-F238E27FC236}">
                <a16:creationId xmlns:a16="http://schemas.microsoft.com/office/drawing/2014/main" id="{0B992AEE-2BBC-CB71-F90C-552D4CE3B01D}"/>
              </a:ext>
            </a:extLst>
          </p:cNvPr>
          <p:cNvCxnSpPr>
            <a:cxnSpLocks/>
            <a:stCxn id="19" idx="3"/>
            <a:endCxn id="12" idx="1"/>
          </p:cNvCxnSpPr>
          <p:nvPr/>
        </p:nvCxnSpPr>
        <p:spPr>
          <a:xfrm flipV="1">
            <a:off x="8605810" y="5419817"/>
            <a:ext cx="1440022" cy="59168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E04544A0-528D-5190-224E-241FB337C3D8}"/>
              </a:ext>
            </a:extLst>
          </p:cNvPr>
          <p:cNvSpPr/>
          <p:nvPr/>
        </p:nvSpPr>
        <p:spPr>
          <a:xfrm>
            <a:off x="5904411" y="4069873"/>
            <a:ext cx="1321962" cy="230420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1" name="EDGE Header Link">
            <a:extLst>
              <a:ext uri="{FF2B5EF4-FFF2-40B4-BE49-F238E27FC236}">
                <a16:creationId xmlns:a16="http://schemas.microsoft.com/office/drawing/2014/main" id="{D7C8D976-A6E3-F8D8-0AF2-4CFAEE24BDDD}"/>
              </a:ext>
            </a:extLst>
          </p:cNvPr>
          <p:cNvCxnSpPr>
            <a:cxnSpLocks/>
          </p:cNvCxnSpPr>
          <p:nvPr/>
        </p:nvCxnSpPr>
        <p:spPr>
          <a:xfrm flipV="1">
            <a:off x="6562779" y="2453825"/>
            <a:ext cx="2664823" cy="1616048"/>
          </a:xfrm>
          <a:prstGeom prst="line">
            <a:avLst/>
          </a:prstGeom>
          <a:ln w="28575">
            <a:solidFill>
              <a:schemeClr val="accent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505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3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236683-C291-955B-EF89-0A67DCE5F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as bringt die Zukun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7F367DB-88D2-0610-EF86-DF3A708678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9831542" cy="4656073"/>
          </a:xfrm>
        </p:spPr>
        <p:txBody>
          <a:bodyPr/>
          <a:lstStyle/>
          <a:p>
            <a:pPr marL="0" indent="0">
              <a:buNone/>
            </a:pPr>
            <a:r>
              <a:rPr lang="de-DE" sz="2000" dirty="0"/>
              <a:t>"</a:t>
            </a:r>
            <a:r>
              <a:rPr lang="en-US" sz="2000" dirty="0"/>
              <a:t>The enforcement system will eventually apply to all versions of Exchange Server</a:t>
            </a:r>
            <a:br>
              <a:rPr lang="en-US" sz="2000" dirty="0"/>
            </a:br>
            <a:r>
              <a:rPr lang="en-US" sz="2000" dirty="0"/>
              <a:t>and all email coming into Exchange Online, but we are starting with a very small </a:t>
            </a:r>
            <a:br>
              <a:rPr lang="en-US" sz="2000" dirty="0"/>
            </a:br>
            <a:r>
              <a:rPr lang="en-US" sz="2000" dirty="0"/>
              <a:t>subset of outdated servers: Exchange 2007 servers that connect to Exchange Online </a:t>
            </a:r>
            <a:br>
              <a:rPr lang="en-US" sz="2000" dirty="0"/>
            </a:br>
            <a:r>
              <a:rPr lang="en-US" sz="2000" dirty="0"/>
              <a:t>over an inbound connector type of </a:t>
            </a:r>
            <a:r>
              <a:rPr lang="en-US" sz="2000" dirty="0" err="1"/>
              <a:t>OnPremises</a:t>
            </a:r>
            <a:r>
              <a:rPr lang="en-US" sz="2000" dirty="0"/>
              <a:t>.</a:t>
            </a:r>
            <a:r>
              <a:rPr lang="de-DE" sz="2000" dirty="0"/>
              <a:t>"</a:t>
            </a:r>
            <a:br>
              <a:rPr lang="de-DE" sz="2000" dirty="0"/>
            </a:br>
            <a:br>
              <a:rPr lang="de-DE" sz="2000" dirty="0"/>
            </a:br>
            <a:r>
              <a:rPr lang="de-DE" sz="1400" dirty="0"/>
              <a:t>Blogartikel </a:t>
            </a:r>
            <a:r>
              <a:rPr lang="en-US" sz="1400" dirty="0"/>
              <a:t>Throttling and Blocking Email from Persistently Vulnerable Exchange Servers to Exchange Online</a:t>
            </a:r>
            <a:endParaRPr lang="de-DE" sz="2000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E83BA77-8270-D213-9E45-0FBC12AA62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6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236683-C291-955B-EF89-0A67DCE5F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as bringt die Zukunf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7F367DB-88D2-0610-EF86-DF3A708678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9831542" cy="4656073"/>
          </a:xfrm>
        </p:spPr>
        <p:txBody>
          <a:bodyPr/>
          <a:lstStyle/>
          <a:p>
            <a:pPr marL="0" indent="0">
              <a:buNone/>
            </a:pPr>
            <a:r>
              <a:rPr lang="de-DE" sz="2000" dirty="0"/>
              <a:t>"</a:t>
            </a:r>
            <a:r>
              <a:rPr lang="en-US" sz="2000" dirty="0"/>
              <a:t>The enforcement system </a:t>
            </a:r>
            <a:r>
              <a:rPr lang="en-US" sz="2000" b="1" dirty="0"/>
              <a:t>will eventually </a:t>
            </a:r>
            <a:r>
              <a:rPr lang="en-US" sz="2000" dirty="0"/>
              <a:t>apply to </a:t>
            </a:r>
            <a:r>
              <a:rPr lang="en-US" sz="2000" b="1" dirty="0"/>
              <a:t>all versions </a:t>
            </a:r>
            <a:r>
              <a:rPr lang="en-US" sz="2000" dirty="0"/>
              <a:t>of Exchange Server</a:t>
            </a:r>
            <a:br>
              <a:rPr lang="en-US" sz="2000" dirty="0"/>
            </a:br>
            <a:r>
              <a:rPr lang="en-US" sz="2000" dirty="0"/>
              <a:t>and </a:t>
            </a:r>
            <a:r>
              <a:rPr lang="en-US" sz="2000" b="1" dirty="0"/>
              <a:t>all email </a:t>
            </a:r>
            <a:r>
              <a:rPr lang="en-US" sz="2000" dirty="0"/>
              <a:t>coming into Exchange Online, but we are starting with a very small </a:t>
            </a:r>
            <a:br>
              <a:rPr lang="en-US" sz="2000" dirty="0"/>
            </a:br>
            <a:r>
              <a:rPr lang="en-US" sz="2000" dirty="0"/>
              <a:t>subset of outdated servers: </a:t>
            </a:r>
            <a:r>
              <a:rPr lang="en-US" sz="2000" b="1" dirty="0"/>
              <a:t>Exchange 2007 </a:t>
            </a:r>
            <a:r>
              <a:rPr lang="en-US" sz="2000" dirty="0"/>
              <a:t>servers that connect to Exchange Online </a:t>
            </a:r>
            <a:br>
              <a:rPr lang="en-US" sz="2000" dirty="0"/>
            </a:br>
            <a:r>
              <a:rPr lang="en-US" sz="2000" dirty="0"/>
              <a:t>over an </a:t>
            </a:r>
            <a:r>
              <a:rPr lang="en-US" sz="2000" b="1" dirty="0"/>
              <a:t>inbound connector type of </a:t>
            </a:r>
            <a:r>
              <a:rPr lang="en-US" sz="2000" b="1" dirty="0" err="1"/>
              <a:t>OnPremises</a:t>
            </a:r>
            <a:r>
              <a:rPr lang="en-US" sz="2000" dirty="0"/>
              <a:t>.</a:t>
            </a:r>
            <a:r>
              <a:rPr lang="de-DE" sz="2000" dirty="0"/>
              <a:t>"</a:t>
            </a:r>
            <a:br>
              <a:rPr lang="de-DE" sz="2000" dirty="0"/>
            </a:br>
            <a:br>
              <a:rPr lang="de-DE" sz="2000" dirty="0"/>
            </a:br>
            <a:r>
              <a:rPr lang="de-DE" sz="1400" dirty="0"/>
              <a:t>Blogartikel </a:t>
            </a:r>
            <a:r>
              <a:rPr lang="en-US" sz="1400" dirty="0"/>
              <a:t>Throttling and Blocking Email from Persistently Vulnerable Exchange Servers to Exchange Online</a:t>
            </a:r>
            <a:endParaRPr lang="de-DE" sz="2000" dirty="0"/>
          </a:p>
          <a:p>
            <a:endParaRPr lang="de-DE" dirty="0"/>
          </a:p>
          <a:p>
            <a:r>
              <a:rPr lang="de-DE" dirty="0"/>
              <a:t>Was kommt nach Exchange Server 2007?</a:t>
            </a:r>
          </a:p>
          <a:p>
            <a:pPr lvl="1"/>
            <a:r>
              <a:rPr lang="de-DE" dirty="0"/>
              <a:t>Exchange Server 2010</a:t>
            </a:r>
          </a:p>
          <a:p>
            <a:pPr lvl="1"/>
            <a:r>
              <a:rPr lang="de-DE" dirty="0"/>
              <a:t>Exchange Server 2013</a:t>
            </a:r>
          </a:p>
          <a:p>
            <a:pPr lvl="1"/>
            <a:r>
              <a:rPr lang="de-DE" dirty="0"/>
              <a:t>…</a:t>
            </a:r>
          </a:p>
          <a:p>
            <a:r>
              <a:rPr lang="de-DE" dirty="0"/>
              <a:t>Haltet eure Exchange Server Umgebung aktuel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E83BA77-8270-D213-9E45-0FBC12AA62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4596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3B24C39-7937-90BB-66C2-90D50BD3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36D1129-2AE2-6ED0-635C-0315F7E754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76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41540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7A2D598-B3FE-4D80-9241-7F9C19D61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Sponsor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E0B9559-706E-FFBB-92F4-73559B252874}"/>
              </a:ext>
            </a:extLst>
          </p:cNvPr>
          <p:cNvGrpSpPr/>
          <p:nvPr/>
        </p:nvGrpSpPr>
        <p:grpSpPr>
          <a:xfrm>
            <a:off x="2170176" y="1633728"/>
            <a:ext cx="7876032" cy="4169664"/>
            <a:chOff x="2170176" y="1633728"/>
            <a:chExt cx="7876032" cy="4169664"/>
          </a:xfrm>
        </p:grpSpPr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A909D6B9-5D1D-1334-E19B-16654E3B8A9F}"/>
                </a:ext>
              </a:extLst>
            </p:cNvPr>
            <p:cNvSpPr/>
            <p:nvPr/>
          </p:nvSpPr>
          <p:spPr>
            <a:xfrm>
              <a:off x="2170176" y="1633728"/>
              <a:ext cx="7876032" cy="416966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26" name="Picture 2" descr="Computacenter - Wikipedia">
              <a:extLst>
                <a:ext uri="{FF2B5EF4-FFF2-40B4-BE49-F238E27FC236}">
                  <a16:creationId xmlns:a16="http://schemas.microsoft.com/office/drawing/2014/main" id="{29602C08-83FC-01F2-084C-BE0D3A02B8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4580" y="1777796"/>
              <a:ext cx="7482840" cy="384119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E13C311C-3F4C-67FA-FDC4-4F05F70E45C6}"/>
              </a:ext>
            </a:extLst>
          </p:cNvPr>
          <p:cNvSpPr txBox="1"/>
          <p:nvPr/>
        </p:nvSpPr>
        <p:spPr>
          <a:xfrm>
            <a:off x="2170176" y="5842536"/>
            <a:ext cx="78760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>
                <a:hlinkClick r:id="rId3"/>
              </a:rPr>
              <a:t>https://www.computacenter.com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5318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32C6D86-46E4-CD78-2951-6FA45B993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essourc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88A929A-069D-8FF2-9877-CEF9ACC3E0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Throttling and Blocking Email from Persistently Vulnerable Exchange Servers to Exchange Online</a:t>
            </a:r>
            <a:endParaRPr lang="en-US" dirty="0"/>
          </a:p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7311409-58A1-BFE8-D55C-DBACAAFEB2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4503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4400" dirty="0"/>
              <a:t>Exchange Q &amp; A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4D7F11-0839-8D51-7B83-AABA476B2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Q &amp; 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137313-85F7-FFB8-600D-63A8E569AC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change Server 2019 CU 2023 H1 (CU13)</a:t>
            </a:r>
          </a:p>
          <a:p>
            <a:pPr lvl="1"/>
            <a:r>
              <a:rPr lang="de-DE" dirty="0"/>
              <a:t>Moderne Authentifizierung (OAuth) für rein lokale Umgebungen mit ADFS</a:t>
            </a:r>
          </a:p>
          <a:p>
            <a:pPr lvl="2"/>
            <a:r>
              <a:rPr lang="en-US" dirty="0">
                <a:hlinkClick r:id="rId2"/>
              </a:rPr>
              <a:t>Enabling Modern Auth in Exchange on-premises</a:t>
            </a:r>
            <a:endParaRPr lang="de-DE" dirty="0"/>
          </a:p>
          <a:p>
            <a:pPr lvl="1"/>
            <a:r>
              <a:rPr lang="de-DE" dirty="0"/>
              <a:t>Sicherung und Wiedereinspielung von angepassten Konfigurationen bei CU-Installation</a:t>
            </a:r>
          </a:p>
          <a:p>
            <a:pPr lvl="2"/>
            <a:r>
              <a:rPr lang="en-US" dirty="0">
                <a:hlinkClick r:id="rId3"/>
              </a:rPr>
              <a:t>Exchange Server custom configuration preservation</a:t>
            </a:r>
            <a:endParaRPr lang="de-DE" dirty="0"/>
          </a:p>
          <a:p>
            <a:pPr lvl="1"/>
            <a:r>
              <a:rPr lang="de-DE" dirty="0"/>
              <a:t>Verpflichtendes CU für hybride Exchange Organisation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D2F1473-58F2-E6DC-04FF-74B695C091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1508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32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3DFA5F-329D-3085-2853-99BFC4E75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 – On-Tour</a:t>
            </a:r>
          </a:p>
        </p:txBody>
      </p:sp>
      <p:graphicFrame>
        <p:nvGraphicFramePr>
          <p:cNvPr id="18" name="Inhaltsplatzhalter 2">
            <a:extLst>
              <a:ext uri="{FF2B5EF4-FFF2-40B4-BE49-F238E27FC236}">
                <a16:creationId xmlns:a16="http://schemas.microsoft.com/office/drawing/2014/main" id="{2D4E665F-BA7C-00FA-0750-36DA0DA86FB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8181089"/>
              </p:ext>
            </p:extLst>
          </p:nvPr>
        </p:nvGraphicFramePr>
        <p:xfrm>
          <a:off x="838200" y="1520890"/>
          <a:ext cx="10515600" cy="46560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9D91E8-2002-4D97-B127-4532B72B4E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96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E28B5C00-703A-466F-BCBE-63798F01D3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5370">
            <a:off x="6386890" y="4190311"/>
            <a:ext cx="4138789" cy="27591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sz="2400" b="1" dirty="0"/>
              <a:t>Exchange User Group Team</a:t>
            </a:r>
          </a:p>
          <a:p>
            <a:pPr lvl="1"/>
            <a:r>
              <a:rPr lang="de-DE" sz="2000" dirty="0"/>
              <a:t>Registrierung </a:t>
            </a:r>
            <a:r>
              <a:rPr lang="de-DE" sz="2000" dirty="0">
                <a:sym typeface="Wingdings" panose="05000000000000000000" pitchFamily="2" charset="2"/>
              </a:rPr>
              <a:t> Link auf Homepage</a:t>
            </a:r>
            <a:endParaRPr lang="de-DE" sz="2000" dirty="0"/>
          </a:p>
          <a:p>
            <a:endParaRPr lang="de-DE" sz="2400" dirty="0"/>
          </a:p>
          <a:p>
            <a:r>
              <a:rPr lang="de-DE" sz="2400" b="1" dirty="0"/>
              <a:t>Themenvorschläge</a:t>
            </a:r>
          </a:p>
          <a:p>
            <a:pPr lvl="1"/>
            <a:r>
              <a:rPr lang="de-DE" sz="20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Themen</a:t>
            </a:r>
            <a:r>
              <a:rPr lang="de-DE" sz="2000" dirty="0"/>
              <a:t> </a:t>
            </a:r>
          </a:p>
          <a:p>
            <a:endParaRPr lang="de-DE" sz="2400" dirty="0"/>
          </a:p>
          <a:p>
            <a:r>
              <a:rPr lang="de-DE" sz="2400" b="1" dirty="0"/>
              <a:t>Community Sticker</a:t>
            </a:r>
          </a:p>
          <a:p>
            <a:pPr lvl="1"/>
            <a:r>
              <a:rPr lang="de-DE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sz="2000" dirty="0">
                <a:solidFill>
                  <a:srgbClr val="37A5DD"/>
                </a:solidFill>
              </a:rPr>
              <a:t> </a:t>
            </a:r>
          </a:p>
          <a:p>
            <a:pPr lvl="1"/>
            <a:endParaRPr lang="de-DE" sz="2000" dirty="0">
              <a:solidFill>
                <a:srgbClr val="37A5DD"/>
              </a:solidFill>
            </a:endParaRPr>
          </a:p>
          <a:p>
            <a:r>
              <a:rPr lang="de-DE" sz="2400" b="1" dirty="0"/>
              <a:t>EXUSG </a:t>
            </a:r>
            <a:r>
              <a:rPr lang="de-DE" sz="2400" b="1" dirty="0" err="1"/>
              <a:t>Mugs</a:t>
            </a:r>
            <a:endParaRPr lang="de-DE" sz="2400" b="1" dirty="0"/>
          </a:p>
          <a:p>
            <a:pPr lvl="1"/>
            <a:r>
              <a:rPr lang="de-DE" sz="20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Mug</a:t>
            </a:r>
            <a:br>
              <a:rPr lang="de-DE" dirty="0"/>
            </a:b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7794836" y="853345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9836595" y="2286751"/>
            <a:ext cx="2221416" cy="222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Nächster Termin </a:t>
            </a:r>
            <a:r>
              <a:rPr lang="de-DE" b="1" dirty="0">
                <a:sym typeface="Wingdings" panose="05000000000000000000" pitchFamily="2" charset="2"/>
              </a:rPr>
              <a:t>24. August 2023</a:t>
            </a:r>
          </a:p>
          <a:p>
            <a:pPr marL="0" indent="0">
              <a:buNone/>
            </a:pPr>
            <a:br>
              <a:rPr lang="de-DE" sz="2200" dirty="0">
                <a:sym typeface="Wingdings" panose="05000000000000000000" pitchFamily="2" charset="2"/>
              </a:rPr>
            </a:br>
            <a:r>
              <a:rPr lang="de-DE" sz="2200" dirty="0">
                <a:sym typeface="Wingdings" panose="05000000000000000000" pitchFamily="2" charset="2"/>
              </a:rPr>
              <a:t>Homepag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Twitt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</a:rPr>
              <a:t>@exusg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Recording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Recs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0466" y="1374385"/>
            <a:ext cx="8771068" cy="250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1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76AC5E6-C4EC-E096-0092-79C726CC7E4B}"/>
              </a:ext>
            </a:extLst>
          </p:cNvPr>
          <p:cNvSpPr/>
          <p:nvPr/>
        </p:nvSpPr>
        <p:spPr>
          <a:xfrm>
            <a:off x="1436914" y="2037806"/>
            <a:ext cx="9353006" cy="2220685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7A2D598-B3FE-4D80-9241-7F9C19D61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Sponso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13C311C-3F4C-67FA-FDC4-4F05F70E45C6}"/>
              </a:ext>
            </a:extLst>
          </p:cNvPr>
          <p:cNvSpPr txBox="1"/>
          <p:nvPr/>
        </p:nvSpPr>
        <p:spPr>
          <a:xfrm>
            <a:off x="2170176" y="5842536"/>
            <a:ext cx="78760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dirty="0">
                <a:hlinkClick r:id="rId3"/>
              </a:rPr>
              <a:t>https://www.enowsoftware.com</a:t>
            </a:r>
            <a:r>
              <a:rPr lang="de-DE" dirty="0"/>
              <a:t> </a:t>
            </a:r>
          </a:p>
        </p:txBody>
      </p:sp>
      <p:pic>
        <p:nvPicPr>
          <p:cNvPr id="7" name="Grafik 6" descr="Ein Bild, das Grafiken, Schrift, Grafikdesign, Logo enthält.&#10;&#10;Automatisch generierte Beschreibung">
            <a:extLst>
              <a:ext uri="{FF2B5EF4-FFF2-40B4-BE49-F238E27FC236}">
                <a16:creationId xmlns:a16="http://schemas.microsoft.com/office/drawing/2014/main" id="{2D799B96-DE4E-6C72-B167-F32D912992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614" y="2121084"/>
            <a:ext cx="9104772" cy="201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0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2 2022</a:t>
            </a:r>
          </a:p>
        </p:txBody>
      </p:sp>
      <p:graphicFrame>
        <p:nvGraphicFramePr>
          <p:cNvPr id="14" name="Inhaltsplatzhalter 2">
            <a:extLst>
              <a:ext uri="{FF2B5EF4-FFF2-40B4-BE49-F238E27FC236}">
                <a16:creationId xmlns:a16="http://schemas.microsoft.com/office/drawing/2014/main" id="{F71BA354-3E66-B623-2586-C7986D89AB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1568249"/>
              </p:ext>
            </p:extLst>
          </p:nvPr>
        </p:nvGraphicFramePr>
        <p:xfrm>
          <a:off x="838200" y="1520890"/>
          <a:ext cx="9412705" cy="46560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60FA8B-3FE8-41AF-887D-70CB325A73FF}"/>
              </a:ext>
            </a:extLst>
          </p:cNvPr>
          <p:cNvSpPr txBox="1"/>
          <p:nvPr/>
        </p:nvSpPr>
        <p:spPr>
          <a:xfrm>
            <a:off x="5047248" y="6165562"/>
            <a:ext cx="69723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Talks werden aufgezeichnet. The </a:t>
            </a:r>
            <a:r>
              <a:rPr lang="de-DE" sz="1600" dirty="0" err="1"/>
              <a:t>sessions</a:t>
            </a:r>
            <a:r>
              <a:rPr lang="de-DE" sz="1600" dirty="0"/>
              <a:t> will be </a:t>
            </a:r>
            <a:r>
              <a:rPr lang="de-DE" sz="1600" dirty="0" err="1"/>
              <a:t>recorded</a:t>
            </a:r>
            <a:r>
              <a:rPr lang="de-DE" sz="1600" dirty="0"/>
              <a:t>. </a:t>
            </a:r>
            <a:br>
              <a:rPr lang="de-DE" sz="1600" dirty="0"/>
            </a:br>
            <a:r>
              <a:rPr lang="de-DE" sz="1600" dirty="0">
                <a:hlinkClick r:id="rId8"/>
              </a:rPr>
              <a:t>https://go.granikos.eu/EXUSG-Recs</a:t>
            </a:r>
            <a:r>
              <a:rPr lang="de-DE" sz="1600" dirty="0"/>
              <a:t> </a:t>
            </a:r>
          </a:p>
        </p:txBody>
      </p:sp>
      <p:grpSp>
        <p:nvGrpSpPr>
          <p:cNvPr id="6" name="Grafik 3" descr="Webcam">
            <a:extLst>
              <a:ext uri="{FF2B5EF4-FFF2-40B4-BE49-F238E27FC236}">
                <a16:creationId xmlns:a16="http://schemas.microsoft.com/office/drawing/2014/main" id="{D887B6D5-E084-4C12-9799-A7C0F958FEEC}"/>
              </a:ext>
            </a:extLst>
          </p:cNvPr>
          <p:cNvGrpSpPr/>
          <p:nvPr/>
        </p:nvGrpSpPr>
        <p:grpSpPr>
          <a:xfrm>
            <a:off x="4170947" y="5943600"/>
            <a:ext cx="661404" cy="914400"/>
            <a:chOff x="838198" y="5792681"/>
            <a:chExt cx="914400" cy="914400"/>
          </a:xfrm>
          <a:solidFill>
            <a:schemeClr val="accent1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EA8C525A-4365-4D83-86B5-F73673846B06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D7DEAB1-8369-4B70-A9AB-BCCA3B861094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4400" dirty="0"/>
              <a:t>Microsoft 365 Gruppen – </a:t>
            </a:r>
            <a:br>
              <a:rPr lang="de-DE" sz="4400" dirty="0"/>
            </a:br>
            <a:r>
              <a:rPr lang="de-DE" sz="4400" dirty="0"/>
              <a:t>Was ist das und warum braucht man sie? </a:t>
            </a:r>
            <a:br>
              <a:rPr lang="de-DE" sz="4400" dirty="0"/>
            </a:br>
            <a:r>
              <a:rPr lang="de-DE" sz="2400" dirty="0"/>
              <a:t>(Update)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Thomas Stensitzki</a:t>
            </a:r>
          </a:p>
        </p:txBody>
      </p:sp>
    </p:spTree>
    <p:extLst>
      <p:ext uri="{BB962C8B-B14F-4D97-AF65-F5344CB8AC3E}">
        <p14:creationId xmlns:p14="http://schemas.microsoft.com/office/powerpoint/2010/main" val="51282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3B24C39-7937-90BB-66C2-90D50BD3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36D1129-2AE2-6ED0-635C-0315F7E754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76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61138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4400" dirty="0"/>
              <a:t>Exchange Online Blockierung </a:t>
            </a:r>
            <a:br>
              <a:rPr lang="de-DE" sz="4400" dirty="0"/>
            </a:br>
            <a:r>
              <a:rPr lang="de-DE" sz="4400" dirty="0"/>
              <a:t>veralteter Exchange Server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Thomas Stensitzki</a:t>
            </a:r>
          </a:p>
        </p:txBody>
      </p:sp>
    </p:spTree>
    <p:extLst>
      <p:ext uri="{BB962C8B-B14F-4D97-AF65-F5344CB8AC3E}">
        <p14:creationId xmlns:p14="http://schemas.microsoft.com/office/powerpoint/2010/main" val="61287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7C9A46-85AD-FF25-AC43-F3F4FCB67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orum geht es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D9F363-E093-CC32-FA5B-9EE98CD0DD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rottling and Blocking Email from Persistently Vulnerable Exchange Servers to Exchange Online</a:t>
            </a:r>
            <a:br>
              <a:rPr lang="en-US" dirty="0"/>
            </a:b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sz="2400" dirty="0" err="1">
                <a:hlinkClick r:id="rId2"/>
              </a:rPr>
              <a:t>Blogartikel</a:t>
            </a:r>
            <a:r>
              <a:rPr lang="en-US" sz="2400" dirty="0">
                <a:hlinkClick r:id="rId2"/>
              </a:rPr>
              <a:t> </a:t>
            </a:r>
            <a:r>
              <a:rPr lang="en-US" sz="2400" dirty="0" err="1">
                <a:hlinkClick r:id="rId2"/>
              </a:rPr>
              <a:t>vom</a:t>
            </a:r>
            <a:r>
              <a:rPr lang="en-US" sz="2400" dirty="0">
                <a:hlinkClick r:id="rId2"/>
              </a:rPr>
              <a:t> 23. </a:t>
            </a:r>
            <a:r>
              <a:rPr lang="en-US" sz="2400" dirty="0" err="1">
                <a:hlinkClick r:id="rId2"/>
              </a:rPr>
              <a:t>März</a:t>
            </a:r>
            <a:r>
              <a:rPr lang="en-US" sz="2400" dirty="0">
                <a:hlinkClick r:id="rId2"/>
              </a:rPr>
              <a:t> 2023 / 8. Mai 2023</a:t>
            </a:r>
            <a:br>
              <a:rPr lang="en-US" sz="3200" dirty="0"/>
            </a:br>
            <a:endParaRPr lang="en-US" dirty="0"/>
          </a:p>
          <a:p>
            <a:r>
              <a:rPr lang="en-US" dirty="0" err="1"/>
              <a:t>Drosselung</a:t>
            </a:r>
            <a:r>
              <a:rPr lang="en-US" dirty="0"/>
              <a:t> und </a:t>
            </a:r>
            <a:r>
              <a:rPr lang="en-US" dirty="0" err="1"/>
              <a:t>Blockierung</a:t>
            </a:r>
            <a:r>
              <a:rPr lang="en-US" dirty="0"/>
              <a:t> von </a:t>
            </a:r>
            <a:r>
              <a:rPr lang="en-US" dirty="0" err="1"/>
              <a:t>eingehenden</a:t>
            </a:r>
            <a:r>
              <a:rPr lang="en-US" dirty="0"/>
              <a:t> SMTP-</a:t>
            </a:r>
            <a:r>
              <a:rPr lang="en-US" dirty="0" err="1"/>
              <a:t>Verbindung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Exchange Online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F7C4C36-33DC-FD8C-6EA5-B3D767F3B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758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57F163-F02B-932E-E603-F1E8FF9E1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Unsichere Exchange Serv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94005F8-B6FD-6A8C-0581-79CB60B2E6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9829800" cy="4656073"/>
          </a:xfrm>
        </p:spPr>
        <p:txBody>
          <a:bodyPr/>
          <a:lstStyle/>
          <a:p>
            <a:r>
              <a:rPr lang="de-DE" dirty="0"/>
              <a:t>Sicherheitsrisiko durch kompromittierte lokale Exchange Server</a:t>
            </a:r>
          </a:p>
          <a:p>
            <a:r>
              <a:rPr lang="de-DE" dirty="0"/>
              <a:t>Versand von E-Mail-Nachrichten an unternehmensinterne und externe Empfänger</a:t>
            </a:r>
          </a:p>
          <a:p>
            <a:pPr lvl="1"/>
            <a:r>
              <a:rPr lang="de-DE" dirty="0"/>
              <a:t>Phishing, Spam, Malware</a:t>
            </a:r>
          </a:p>
          <a:p>
            <a:pPr lvl="1"/>
            <a:endParaRPr lang="de-DE" dirty="0"/>
          </a:p>
          <a:p>
            <a:r>
              <a:rPr lang="de-DE" dirty="0"/>
              <a:t>Reputationsrisiko für Microsoft 365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315A35-E553-5033-4C04-DE77F8B490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996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BFBFBF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3</Words>
  <Application>Microsoft Office PowerPoint</Application>
  <PresentationFormat>Breitbild</PresentationFormat>
  <Paragraphs>188</Paragraphs>
  <Slides>26</Slides>
  <Notes>9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2" baseType="lpstr">
      <vt:lpstr>Arial</vt:lpstr>
      <vt:lpstr>Calibri</vt:lpstr>
      <vt:lpstr>Courier New</vt:lpstr>
      <vt:lpstr>Segoe UI</vt:lpstr>
      <vt:lpstr>Wingdings</vt:lpstr>
      <vt:lpstr>Office</vt:lpstr>
      <vt:lpstr>Exchange User Group Meetup Q2 2023 {Hybrid Edition}</vt:lpstr>
      <vt:lpstr>Sponsor</vt:lpstr>
      <vt:lpstr>Sponsor</vt:lpstr>
      <vt:lpstr>Meetup Q2 2022</vt:lpstr>
      <vt:lpstr>Microsoft 365 Gruppen –  Was ist das und warum braucht man sie?  (Update) </vt:lpstr>
      <vt:lpstr>PowerPoint-Präsentation</vt:lpstr>
      <vt:lpstr>Exchange Online Blockierung  veralteter Exchange Server </vt:lpstr>
      <vt:lpstr>Worum geht es?</vt:lpstr>
      <vt:lpstr>Unsichere Exchange Server</vt:lpstr>
      <vt:lpstr>Geplante Maßnahmen</vt:lpstr>
      <vt:lpstr>Abgestufte Umsetzung</vt:lpstr>
      <vt:lpstr>Freikaufen</vt:lpstr>
      <vt:lpstr>Betroffene Verbindungsart</vt:lpstr>
      <vt:lpstr>Benachrichtigung</vt:lpstr>
      <vt:lpstr>Benachrichtigung</vt:lpstr>
      <vt:lpstr>Wie werden Versionen erkannt?</vt:lpstr>
      <vt:lpstr>Was bringt die Zukunft</vt:lpstr>
      <vt:lpstr>Was bringt die Zukunft</vt:lpstr>
      <vt:lpstr>PowerPoint-Präsentation</vt:lpstr>
      <vt:lpstr>Ressourcen</vt:lpstr>
      <vt:lpstr>Exchange Q &amp; A</vt:lpstr>
      <vt:lpstr>Exchange Q &amp; A</vt:lpstr>
      <vt:lpstr>Exchange User Group</vt:lpstr>
      <vt:lpstr>Exchange User Group – On-Tour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Q2 2023</dc:title>
  <dc:subject>Exchange User Group | UG Meetup Februar 2023</dc:subject>
  <dc:creator>Thomas.Stensitzki@Granikos.eu</dc:creator>
  <cp:keywords>EXUSG</cp:keywords>
  <cp:lastModifiedBy>Thomas Stensitzki</cp:lastModifiedBy>
  <cp:revision>80</cp:revision>
  <dcterms:created xsi:type="dcterms:W3CDTF">2017-02-23T19:31:41Z</dcterms:created>
  <dcterms:modified xsi:type="dcterms:W3CDTF">2023-05-13T11:30:30Z</dcterms:modified>
  <cp:contentStatus>Final</cp:contentStatus>
</cp:coreProperties>
</file>